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8.jpg" ContentType="image/jpg"/>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image9.jpg" ContentType="image/jpg"/>
  <Override PartName="/ppt/notesSlides/notesSlide8.xml" ContentType="application/vnd.openxmlformats-officedocument.presentationml.notesSlide+xml"/>
  <Override PartName="/ppt/media/image10.jpg" ContentType="image/jpg"/>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media/image11.jpg" ContentType="image/jpg"/>
  <Override PartName="/ppt/notesSlides/notesSlide13.xml" ContentType="application/vnd.openxmlformats-officedocument.presentationml.notesSlide+xml"/>
  <Override PartName="/ppt/notesSlides/notesSlide14.xml" ContentType="application/vnd.openxmlformats-officedocument.presentationml.notesSlide+xml"/>
  <Override PartName="/ppt/media/image12.jpg" ContentType="image/jpg"/>
  <Override PartName="/ppt/notesSlides/notesSlide15.xml" ContentType="application/vnd.openxmlformats-officedocument.presentationml.notesSlide+xml"/>
  <Override PartName="/ppt/media/image13.jpg" ContentType="image/jpg"/>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media/image14.jpg" ContentType="image/jpg"/>
  <Override PartName="/ppt/notesSlides/notesSlide19.xml" ContentType="application/vnd.openxmlformats-officedocument.presentationml.notesSlide+xml"/>
  <Override PartName="/ppt/media/image15.jpg" ContentType="image/jpg"/>
  <Override PartName="/ppt/notesSlides/notesSlide20.xml" ContentType="application/vnd.openxmlformats-officedocument.presentationml.notesSlide+xml"/>
  <Override PartName="/ppt/media/image16.jpg" ContentType="image/jpg"/>
  <Override PartName="/ppt/notesSlides/notesSlide21.xml" ContentType="application/vnd.openxmlformats-officedocument.presentationml.notesSlide+xml"/>
  <Override PartName="/ppt/media/image17.jpg" ContentType="image/jpg"/>
  <Override PartName="/ppt/notesSlides/notesSlide22.xml" ContentType="application/vnd.openxmlformats-officedocument.presentationml.notesSlide+xml"/>
  <Override PartName="/ppt/notesSlides/notesSlide23.xml" ContentType="application/vnd.openxmlformats-officedocument.presentationml.notesSlide+xml"/>
  <Override PartName="/ppt/media/image18.jpg" ContentType="image/jpg"/>
  <Override PartName="/ppt/notesSlides/notesSlide24.xml" ContentType="application/vnd.openxmlformats-officedocument.presentationml.notesSlide+xml"/>
  <Override PartName="/ppt/media/image19.jpg" ContentType="image/jpg"/>
  <Override PartName="/ppt/notesSlides/notesSlide25.xml" ContentType="application/vnd.openxmlformats-officedocument.presentationml.notesSlide+xml"/>
  <Override PartName="/ppt/media/image20.jpg" ContentType="image/jpg"/>
  <Override PartName="/ppt/notesSlides/notesSlide26.xml" ContentType="application/vnd.openxmlformats-officedocument.presentationml.notesSlide+xml"/>
  <Override PartName="/ppt/media/image21.jpg" ContentType="image/jpg"/>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media/image22.jpg" ContentType="image/jpg"/>
  <Override PartName="/ppt/notesSlides/notesSlide30.xml" ContentType="application/vnd.openxmlformats-officedocument.presentationml.notesSlide+xml"/>
  <Override PartName="/ppt/media/image23.jpg" ContentType="image/jpg"/>
  <Override PartName="/ppt/notesSlides/notesSlide31.xml" ContentType="application/vnd.openxmlformats-officedocument.presentationml.notesSlide+xml"/>
  <Override PartName="/ppt/media/image24.jpg" ContentType="image/jpg"/>
  <Override PartName="/ppt/notesSlides/notesSlide32.xml" ContentType="application/vnd.openxmlformats-officedocument.presentationml.notesSlide+xml"/>
  <Override PartName="/ppt/media/image25.jpg" ContentType="image/jpg"/>
  <Override PartName="/ppt/notesSlides/notesSlide33.xml" ContentType="application/vnd.openxmlformats-officedocument.presentationml.notesSlide+xml"/>
  <Override PartName="/ppt/media/image26.jpg" ContentType="image/jpg"/>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Lst>
  <p:notesMasterIdLst>
    <p:notesMasterId r:id="rId45"/>
  </p:notesMasterIdLst>
  <p:handoutMasterIdLst>
    <p:handoutMasterId r:id="rId46"/>
  </p:handoutMasterIdLst>
  <p:sldIdLst>
    <p:sldId id="297"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99" r:id="rId32"/>
    <p:sldId id="283" r:id="rId33"/>
    <p:sldId id="284" r:id="rId34"/>
    <p:sldId id="285" r:id="rId35"/>
    <p:sldId id="286" r:id="rId36"/>
    <p:sldId id="287" r:id="rId37"/>
    <p:sldId id="289" r:id="rId38"/>
    <p:sldId id="290" r:id="rId39"/>
    <p:sldId id="291" r:id="rId40"/>
    <p:sldId id="292" r:id="rId41"/>
    <p:sldId id="293" r:id="rId42"/>
    <p:sldId id="300" r:id="rId43"/>
    <p:sldId id="294" r:id="rId44"/>
  </p:sldIdLst>
  <p:sldSz cx="9906000" cy="6858000" type="A4"/>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59">
          <p15:clr>
            <a:srgbClr val="A4A3A4"/>
          </p15:clr>
        </p15:guide>
      </p15:sldGuideLst>
    </p:ext>
    <p:ext uri="{2D200454-40CA-4A62-9FC3-DE9A4176ACB9}">
      <p15:notesGuideLst xmlns:p15="http://schemas.microsoft.com/office/powerpoint/2012/main">
        <p15:guide id="1" orient="horz" pos="2448">
          <p15:clr>
            <a:srgbClr val="A4A3A4"/>
          </p15:clr>
        </p15:guide>
        <p15:guide id="2" pos="158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6165" autoAdjust="0"/>
    <p:restoredTop sz="81412" autoAdjust="0"/>
  </p:normalViewPr>
  <p:slideViewPr>
    <p:cSldViewPr>
      <p:cViewPr varScale="1">
        <p:scale>
          <a:sx n="71" d="100"/>
          <a:sy n="71" d="100"/>
        </p:scale>
        <p:origin x="1452" y="40"/>
      </p:cViewPr>
      <p:guideLst>
        <p:guide orient="horz" pos="2880"/>
        <p:guide pos="2159"/>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p:scale>
          <a:sx n="60" d="100"/>
          <a:sy n="60" d="100"/>
        </p:scale>
        <p:origin x="-3132" y="-228"/>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69193" tIns="34596" rIns="69193" bIns="34596" rtlCol="0"/>
          <a:lstStyle>
            <a:lvl1pPr algn="l">
              <a:defRPr sz="9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69193" tIns="34596" rIns="69193" bIns="34596" rtlCol="0"/>
          <a:lstStyle>
            <a:lvl1pPr algn="r">
              <a:defRPr sz="900"/>
            </a:lvl1pPr>
          </a:lstStyle>
          <a:p>
            <a:fld id="{1A48F7AD-229A-467C-8627-68D933C24BEC}" type="datetimeFigureOut">
              <a:rPr lang="en-US" smtClean="0"/>
              <a:t>8/2/2018</a:t>
            </a:fld>
            <a:endParaRPr lang="en-US"/>
          </a:p>
        </p:txBody>
      </p:sp>
      <p:sp>
        <p:nvSpPr>
          <p:cNvPr id="4" name="Footer Placeholder 3"/>
          <p:cNvSpPr>
            <a:spLocks noGrp="1"/>
          </p:cNvSpPr>
          <p:nvPr>
            <p:ph type="ftr" sz="quarter" idx="2"/>
          </p:nvPr>
        </p:nvSpPr>
        <p:spPr>
          <a:xfrm>
            <a:off x="0" y="7382535"/>
            <a:ext cx="2179320" cy="388620"/>
          </a:xfrm>
          <a:prstGeom prst="rect">
            <a:avLst/>
          </a:prstGeom>
        </p:spPr>
        <p:txBody>
          <a:bodyPr vert="horz" lIns="69193" tIns="34596" rIns="69193" bIns="34596" rtlCol="0" anchor="b"/>
          <a:lstStyle>
            <a:lvl1pPr algn="l">
              <a:defRPr sz="900"/>
            </a:lvl1pPr>
          </a:lstStyle>
          <a:p>
            <a:endParaRPr lang="en-US"/>
          </a:p>
        </p:txBody>
      </p:sp>
      <p:sp>
        <p:nvSpPr>
          <p:cNvPr id="5" name="Slide Number Placeholder 4"/>
          <p:cNvSpPr>
            <a:spLocks noGrp="1"/>
          </p:cNvSpPr>
          <p:nvPr>
            <p:ph type="sldNum" sz="quarter" idx="3"/>
          </p:nvPr>
        </p:nvSpPr>
        <p:spPr>
          <a:xfrm>
            <a:off x="2848716" y="7382535"/>
            <a:ext cx="2179320" cy="388620"/>
          </a:xfrm>
          <a:prstGeom prst="rect">
            <a:avLst/>
          </a:prstGeom>
        </p:spPr>
        <p:txBody>
          <a:bodyPr vert="horz" lIns="69193" tIns="34596" rIns="69193" bIns="34596" rtlCol="0" anchor="b"/>
          <a:lstStyle>
            <a:lvl1pPr algn="r">
              <a:defRPr sz="900"/>
            </a:lvl1pPr>
          </a:lstStyle>
          <a:p>
            <a:fld id="{B95DFA90-13F9-4D0F-BDA3-FD831BED85EE}" type="slidenum">
              <a:rPr lang="en-US" smtClean="0"/>
              <a:t>‹#›</a:t>
            </a:fld>
            <a:endParaRPr lang="en-US"/>
          </a:p>
        </p:txBody>
      </p:sp>
    </p:spTree>
    <p:extLst>
      <p:ext uri="{BB962C8B-B14F-4D97-AF65-F5344CB8AC3E}">
        <p14:creationId xmlns:p14="http://schemas.microsoft.com/office/powerpoint/2010/main" val="184825326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Notes Placeholder 4"/>
          <p:cNvSpPr>
            <a:spLocks noGrp="1"/>
          </p:cNvSpPr>
          <p:nvPr>
            <p:ph type="body" sz="quarter" idx="3"/>
          </p:nvPr>
        </p:nvSpPr>
        <p:spPr>
          <a:xfrm>
            <a:off x="1391485" y="3348111"/>
            <a:ext cx="3246555" cy="3497580"/>
          </a:xfrm>
          <a:prstGeom prst="rect">
            <a:avLst/>
          </a:prstGeom>
        </p:spPr>
        <p:txBody>
          <a:bodyPr vert="horz" lIns="69193" tIns="34596" rIns="69193" bIns="34596"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Line 8"/>
          <p:cNvSpPr>
            <a:spLocks noChangeShapeType="1"/>
          </p:cNvSpPr>
          <p:nvPr/>
        </p:nvSpPr>
        <p:spPr bwMode="auto">
          <a:xfrm>
            <a:off x="914400" y="418514"/>
            <a:ext cx="0" cy="6770540"/>
          </a:xfrm>
          <a:prstGeom prst="line">
            <a:avLst/>
          </a:prstGeom>
          <a:noFill/>
          <a:ln w="9525">
            <a:solidFill>
              <a:schemeClr val="tx1"/>
            </a:solidFill>
            <a:round/>
            <a:headEnd/>
            <a:tailEnd/>
          </a:ln>
          <a:effectLst/>
        </p:spPr>
        <p:txBody>
          <a:bodyPr lIns="69193" tIns="34596" rIns="69193" bIns="34596"/>
          <a:lstStyle/>
          <a:p>
            <a:endParaRPr lang="en-US"/>
          </a:p>
        </p:txBody>
      </p:sp>
      <p:sp>
        <p:nvSpPr>
          <p:cNvPr id="9" name="Rectangle 14"/>
          <p:cNvSpPr>
            <a:spLocks noChangeArrowheads="1"/>
          </p:cNvSpPr>
          <p:nvPr/>
        </p:nvSpPr>
        <p:spPr bwMode="auto">
          <a:xfrm>
            <a:off x="122506" y="172721"/>
            <a:ext cx="4693920" cy="215235"/>
          </a:xfrm>
          <a:prstGeom prst="rect">
            <a:avLst/>
          </a:prstGeom>
          <a:noFill/>
          <a:ln w="9525">
            <a:noFill/>
            <a:miter lim="800000"/>
            <a:headEnd/>
            <a:tailEnd/>
          </a:ln>
          <a:effectLst/>
        </p:spPr>
        <p:txBody>
          <a:bodyPr lIns="69954" tIns="34977" rIns="69954" bIns="34977"/>
          <a:lstStyle/>
          <a:p>
            <a:pPr marL="0" marR="0" indent="0" algn="l" defTabSz="691926" rtl="0" eaLnBrk="1" fontAlgn="auto" latinLnBrk="0" hangingPunct="1">
              <a:lnSpc>
                <a:spcPct val="100000"/>
              </a:lnSpc>
              <a:spcBef>
                <a:spcPts val="0"/>
              </a:spcBef>
              <a:spcAft>
                <a:spcPts val="0"/>
              </a:spcAft>
              <a:buClrTx/>
              <a:buSzTx/>
              <a:buFontTx/>
              <a:buNone/>
              <a:tabLst/>
              <a:defRPr/>
            </a:pPr>
            <a:r>
              <a:rPr lang="en-US" sz="900" dirty="0" smtClean="0">
                <a:latin typeface="Arial" pitchFamily="34" charset="0"/>
                <a:cs typeface="Arial" pitchFamily="34" charset="0"/>
              </a:rPr>
              <a:t>Teradata Basics			</a:t>
            </a:r>
            <a:r>
              <a:rPr lang="en-US" sz="900" baseline="0" dirty="0" smtClean="0">
                <a:latin typeface="Arial" pitchFamily="34" charset="0"/>
                <a:cs typeface="Arial" pitchFamily="34" charset="0"/>
              </a:rPr>
              <a:t>             An Overview of Teradata</a:t>
            </a:r>
            <a:endParaRPr lang="en-US" dirty="0">
              <a:latin typeface="Arial" pitchFamily="34" charset="0"/>
              <a:cs typeface="Arial" pitchFamily="34" charset="0"/>
            </a:endParaRPr>
          </a:p>
        </p:txBody>
      </p:sp>
      <p:sp>
        <p:nvSpPr>
          <p:cNvPr id="10" name="Rectangle 14"/>
          <p:cNvSpPr>
            <a:spLocks noChangeArrowheads="1"/>
          </p:cNvSpPr>
          <p:nvPr/>
        </p:nvSpPr>
        <p:spPr bwMode="auto">
          <a:xfrm>
            <a:off x="3436890" y="7255539"/>
            <a:ext cx="1402515" cy="253999"/>
          </a:xfrm>
          <a:prstGeom prst="rect">
            <a:avLst/>
          </a:prstGeom>
          <a:noFill/>
          <a:ln w="9525">
            <a:noFill/>
            <a:miter lim="800000"/>
            <a:headEnd/>
            <a:tailEnd/>
          </a:ln>
          <a:effectLst/>
        </p:spPr>
        <p:txBody>
          <a:bodyPr lIns="69954" tIns="34977" rIns="69954" bIns="34977"/>
          <a:lstStyle/>
          <a:p>
            <a:pPr marL="0" marR="0" indent="0" algn="l" defTabSz="691926"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	 Page 01-</a:t>
            </a:r>
            <a:fld id="{BD9FB300-F9DC-4669-88F4-967ABA23CC04}" type="slidenum">
              <a:rPr lang="en-US" sz="800" smtClean="0">
                <a:latin typeface="Arial" pitchFamily="34" charset="0"/>
                <a:cs typeface="Arial" pitchFamily="34" charset="0"/>
              </a:rPr>
              <a:pPr marL="0" marR="0" indent="0" algn="l" defTabSz="691926" rtl="0" eaLnBrk="1" fontAlgn="auto" latinLnBrk="0" hangingPunct="1">
                <a:lnSpc>
                  <a:spcPct val="100000"/>
                </a:lnSpc>
                <a:spcBef>
                  <a:spcPts val="0"/>
                </a:spcBef>
                <a:spcAft>
                  <a:spcPts val="0"/>
                </a:spcAft>
                <a:buClrTx/>
                <a:buSzTx/>
                <a:buFontTx/>
                <a:buNone/>
                <a:tabLst/>
                <a:defRPr/>
              </a:pPr>
              <a:t>‹#›</a:t>
            </a:fld>
            <a:r>
              <a:rPr lang="en-US" sz="800" dirty="0" smtClean="0">
                <a:latin typeface="Arial" pitchFamily="34" charset="0"/>
                <a:cs typeface="Arial" pitchFamily="34" charset="0"/>
              </a:rPr>
              <a:t>  </a:t>
            </a:r>
            <a:endParaRPr lang="en-US" sz="800" dirty="0">
              <a:latin typeface="Arial" pitchFamily="34" charset="0"/>
              <a:cs typeface="Arial" pitchFamily="34" charset="0"/>
            </a:endParaRPr>
          </a:p>
        </p:txBody>
      </p:sp>
      <p:sp>
        <p:nvSpPr>
          <p:cNvPr id="11" name="Slide Image Placeholder 10"/>
          <p:cNvSpPr>
            <a:spLocks noGrp="1" noRot="1" noChangeAspect="1"/>
          </p:cNvSpPr>
          <p:nvPr>
            <p:ph type="sldImg" idx="2"/>
          </p:nvPr>
        </p:nvSpPr>
        <p:spPr>
          <a:xfrm>
            <a:off x="1063625" y="552450"/>
            <a:ext cx="3863975" cy="2676525"/>
          </a:xfrm>
          <a:prstGeom prst="rect">
            <a:avLst/>
          </a:prstGeom>
          <a:noFill/>
          <a:ln w="12700">
            <a:solidFill>
              <a:prstClr val="black"/>
            </a:solidFill>
          </a:ln>
        </p:spPr>
        <p:txBody>
          <a:bodyPr vert="horz" lIns="69193" tIns="34596" rIns="69193" bIns="34596" rtlCol="0" anchor="ctr"/>
          <a:lstStyle/>
          <a:p>
            <a:endParaRPr lang="en-US"/>
          </a:p>
        </p:txBody>
      </p:sp>
    </p:spTree>
    <p:extLst>
      <p:ext uri="{BB962C8B-B14F-4D97-AF65-F5344CB8AC3E}">
        <p14:creationId xmlns:p14="http://schemas.microsoft.com/office/powerpoint/2010/main" val="51349533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063625" y="552450"/>
            <a:ext cx="3863975" cy="26765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857171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4554114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8552977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268444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7845125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594820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896186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00468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1440388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r>
              <a:rPr lang="en-US" dirty="0" smtClean="0"/>
              <a:t>OLCP : Online Concurrent Processing</a:t>
            </a:r>
            <a:endParaRPr lang="en-US" dirty="0"/>
          </a:p>
        </p:txBody>
      </p:sp>
    </p:spTree>
    <p:extLst>
      <p:ext uri="{BB962C8B-B14F-4D97-AF65-F5344CB8AC3E}">
        <p14:creationId xmlns:p14="http://schemas.microsoft.com/office/powerpoint/2010/main" val="24109055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698560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0903593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5026366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049678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5260892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64265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r>
              <a:rPr lang="pt-BR" sz="1200" b="1" i="0" kern="1200" dirty="0" smtClean="0">
                <a:solidFill>
                  <a:schemeClr val="tx1"/>
                </a:solidFill>
                <a:effectLst/>
                <a:latin typeface="Arial" panose="020B0604020202020204" pitchFamily="34" charset="0"/>
                <a:ea typeface="+mn-ea"/>
                <a:cs typeface="Arial" panose="020B0604020202020204" pitchFamily="34" charset="0"/>
              </a:rPr>
              <a:t>Teradata</a:t>
            </a:r>
            <a:r>
              <a:rPr lang="pt-BR" sz="1200" b="0" i="0" kern="1200" dirty="0" smtClean="0">
                <a:solidFill>
                  <a:schemeClr val="tx1"/>
                </a:solidFill>
                <a:effectLst/>
                <a:latin typeface="Arial" panose="020B0604020202020204" pitchFamily="34" charset="0"/>
                <a:ea typeface="+mn-ea"/>
                <a:cs typeface="Arial" panose="020B0604020202020204" pitchFamily="34" charset="0"/>
              </a:rPr>
              <a:t> Director Program (</a:t>
            </a:r>
            <a:r>
              <a:rPr lang="pt-BR" sz="1200" b="1" i="0" kern="1200" dirty="0" smtClean="0">
                <a:solidFill>
                  <a:schemeClr val="tx1"/>
                </a:solidFill>
                <a:effectLst/>
                <a:latin typeface="Arial" panose="020B0604020202020204" pitchFamily="34" charset="0"/>
                <a:ea typeface="+mn-ea"/>
                <a:cs typeface="Arial" panose="020B0604020202020204" pitchFamily="34" charset="0"/>
              </a:rPr>
              <a:t>TDP</a:t>
            </a:r>
            <a:r>
              <a:rPr lang="pt-BR" sz="1200" b="0" i="0" kern="1200" dirty="0" smtClean="0">
                <a:solidFill>
                  <a:schemeClr val="tx1"/>
                </a:solidFill>
                <a:effectLst/>
                <a:latin typeface="Arial" panose="020B0604020202020204" pitchFamily="34" charset="0"/>
                <a:ea typeface="+mn-ea"/>
                <a:cs typeface="Arial" panose="020B0604020202020204" pitchFamily="34" charset="0"/>
              </a:rPr>
              <a:t>) (or MTDP).</a:t>
            </a:r>
          </a:p>
          <a:p>
            <a:r>
              <a:rPr lang="en-US" sz="1200" b="0" i="0" kern="1200" dirty="0" smtClean="0">
                <a:solidFill>
                  <a:schemeClr val="tx1"/>
                </a:solidFill>
                <a:effectLst/>
                <a:latin typeface="Arial" panose="020B0604020202020204" pitchFamily="34" charset="0"/>
                <a:ea typeface="+mn-ea"/>
                <a:cs typeface="Arial" panose="020B0604020202020204" pitchFamily="34" charset="0"/>
              </a:rPr>
              <a:t>Micro Operating System Interface (</a:t>
            </a:r>
            <a:r>
              <a:rPr lang="en-US" sz="1200" b="1" i="0" kern="1200" dirty="0" smtClean="0">
                <a:solidFill>
                  <a:schemeClr val="tx1"/>
                </a:solidFill>
                <a:effectLst/>
                <a:latin typeface="Arial" panose="020B0604020202020204" pitchFamily="34" charset="0"/>
                <a:ea typeface="+mn-ea"/>
                <a:cs typeface="Arial" panose="020B0604020202020204" pitchFamily="34" charset="0"/>
              </a:rPr>
              <a:t>MOSI</a:t>
            </a:r>
            <a:r>
              <a:rPr lang="en-US" sz="1200" b="0" i="0" kern="1200" dirty="0" smtClean="0">
                <a:solidFill>
                  <a:schemeClr val="tx1"/>
                </a:solidFill>
                <a:effectLst/>
                <a:latin typeface="Arial" panose="020B0604020202020204" pitchFamily="34" charset="0"/>
                <a:ea typeface="+mn-ea"/>
                <a:cs typeface="Arial" panose="020B0604020202020204" pitchFamily="34" charset="0"/>
              </a:rPr>
              <a:t>)</a:t>
            </a:r>
          </a:p>
          <a:p>
            <a:r>
              <a:rPr lang="pt-BR" sz="1200" b="0" i="0" kern="1200" dirty="0" smtClean="0">
                <a:solidFill>
                  <a:schemeClr val="tx1"/>
                </a:solidFill>
                <a:effectLst/>
                <a:latin typeface="Arial" panose="020B0604020202020204" pitchFamily="34" charset="0"/>
                <a:ea typeface="+mn-ea"/>
                <a:cs typeface="Arial" panose="020B0604020202020204" pitchFamily="34" charset="0"/>
              </a:rPr>
              <a:t> </a:t>
            </a:r>
            <a:endParaRPr lang="en-US" dirty="0"/>
          </a:p>
        </p:txBody>
      </p:sp>
    </p:spTree>
    <p:extLst>
      <p:ext uri="{BB962C8B-B14F-4D97-AF65-F5344CB8AC3E}">
        <p14:creationId xmlns:p14="http://schemas.microsoft.com/office/powerpoint/2010/main" val="23767322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2947127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1842172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9313836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3110646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796780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481980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8017989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1166421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4214718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9141447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142452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5856194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033909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700277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3312504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195001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4950376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p:cNvSpPr>
            <a:spLocks noGrp="1" noRot="1" noChangeAspect="1"/>
          </p:cNvSpPr>
          <p:nvPr>
            <p:ph type="sldImg"/>
          </p:nvPr>
        </p:nvSpPr>
        <p:spPr>
          <a:xfrm>
            <a:off x="1063625" y="552450"/>
            <a:ext cx="3863975" cy="2676525"/>
          </a:xfrm>
        </p:spPr>
      </p:sp>
      <p:sp>
        <p:nvSpPr>
          <p:cNvPr id="9" name="Notes Placeholder 8"/>
          <p:cNvSpPr>
            <a:spLocks noGrp="1"/>
          </p:cNvSpPr>
          <p:nvPr>
            <p:ph type="body" idx="1"/>
          </p:nvPr>
        </p:nvSpPr>
        <p:spPr/>
        <p:txBody>
          <a:bodyPr/>
          <a:lstStyle/>
          <a:p>
            <a:endParaRPr lang="en-US"/>
          </a:p>
        </p:txBody>
      </p:sp>
    </p:spTree>
    <p:extLst>
      <p:ext uri="{BB962C8B-B14F-4D97-AF65-F5344CB8AC3E}">
        <p14:creationId xmlns:p14="http://schemas.microsoft.com/office/powerpoint/2010/main" val="4143938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914710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9952532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9257647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651880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063625" y="552450"/>
            <a:ext cx="3863975" cy="26765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5647294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4166040" y="0"/>
            <a:ext cx="5739960" cy="6858000"/>
          </a:xfrm>
          <a:prstGeom prst="rect">
            <a:avLst/>
          </a:prstGeom>
        </p:spPr>
      </p:pic>
      <p:sp>
        <p:nvSpPr>
          <p:cNvPr id="11" name="Title 1"/>
          <p:cNvSpPr>
            <a:spLocks noGrp="1"/>
          </p:cNvSpPr>
          <p:nvPr>
            <p:ph type="ctrTitle" hasCustomPrompt="1"/>
          </p:nvPr>
        </p:nvSpPr>
        <p:spPr>
          <a:xfrm>
            <a:off x="331491" y="3068962"/>
            <a:ext cx="4036445"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31491" y="3932561"/>
            <a:ext cx="403644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31490" y="6101474"/>
            <a:ext cx="1857375" cy="510013"/>
          </a:xfrm>
          <a:prstGeom prst="rect">
            <a:avLst/>
          </a:prstGeom>
        </p:spPr>
      </p:pic>
    </p:spTree>
    <p:extLst>
      <p:ext uri="{BB962C8B-B14F-4D97-AF65-F5344CB8AC3E}">
        <p14:creationId xmlns:p14="http://schemas.microsoft.com/office/powerpoint/2010/main" val="1965169854"/>
      </p:ext>
    </p:extLst>
  </p:cSld>
  <p:clrMapOvr>
    <a:masterClrMapping/>
  </p:clrMapOvr>
  <p:hf sldNum="0" hdr="0" dt="0"/>
  <p:extLst mod="1">
    <p:ext uri="{DCECCB84-F9BA-43D5-87BE-67443E8EF086}">
      <p15:sldGuideLst xmlns:p15="http://schemas.microsoft.com/office/powerpoint/2012/main">
        <p15:guide id="1"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323392" y="1494769"/>
            <a:ext cx="735991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spTree>
    <p:extLst>
      <p:ext uri="{BB962C8B-B14F-4D97-AF65-F5344CB8AC3E}">
        <p14:creationId xmlns:p14="http://schemas.microsoft.com/office/powerpoint/2010/main" val="1453951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47061" cy="143985"/>
        </p:xfrm>
        <a:graphic>
          <a:graphicData uri="http://schemas.openxmlformats.org/presentationml/2006/ole">
            <mc:AlternateContent xmlns:mc="http://schemas.openxmlformats.org/markup-compatibility/2006">
              <mc:Choice xmlns:v="urn:schemas-microsoft-com:vml" Requires="v">
                <p:oleObj spid="_x0000_s92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normAutofit/>
          </a:bodyPr>
          <a:lstStyle>
            <a:lvl1pPr>
              <a:defRPr sz="28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9"/>
            <a:ext cx="9251119" cy="4643751"/>
          </a:xfrm>
        </p:spPr>
        <p:txBody>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331543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4" y="1494769"/>
            <a:ext cx="7203894" cy="4643751"/>
          </a:xfrm>
        </p:spPr>
        <p:txBody>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0846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a:xfrm>
            <a:off x="76200" y="457200"/>
            <a:ext cx="9243021" cy="855026"/>
          </a:xfrm>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4" y="1494769"/>
            <a:ext cx="7461338"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792"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89793"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93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4" y="1494769"/>
            <a:ext cx="7461338"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6240"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76241"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0176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30"/>
            <a:ext cx="7619999" cy="1098157"/>
          </a:xfrm>
        </p:spPr>
        <p:txBody>
          <a:bodyPr lIns="720000" tIns="33059" rIns="33059" bIns="33059" anchor="t">
            <a:noAutofit/>
          </a:bodyPr>
          <a:lstStyle>
            <a:lvl1pPr marL="0" indent="0" algn="l">
              <a:defRPr sz="28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114800" y="4949636"/>
            <a:ext cx="5791203" cy="874227"/>
          </a:xfrm>
        </p:spPr>
        <p:txBody>
          <a:bodyPr lIns="720000" tIns="33059" rIns="33059" bIns="33059">
            <a:normAutofit/>
          </a:bodyPr>
          <a:lstStyle>
            <a:lvl1pPr marL="0" indent="0" algn="l">
              <a:buNone/>
              <a:defRPr sz="24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815483920"/>
      </p:ext>
    </p:extLst>
  </p:cSld>
  <p:clrMapOvr>
    <a:masterClrMapping/>
  </p:clrMapOvr>
  <p:timing>
    <p:tnLst>
      <p:par>
        <p:cTn id="1" dur="indefinite" restart="never" nodeType="tmRoot"/>
      </p:par>
    </p:tnLst>
  </p:timing>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31491" y="413387"/>
            <a:ext cx="9243021"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31490" y="1412875"/>
            <a:ext cx="9243020"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 xmlns:a16="http://schemas.microsoft.com/office/drawing/2014/main" id="{C117F4DF-C380-44D6-BF54-2A26A056BCB8}"/>
              </a:ext>
            </a:extLst>
          </p:cNvPr>
          <p:cNvPicPr>
            <a:picLocks noChangeAspect="1"/>
          </p:cNvPicPr>
          <p:nvPr/>
        </p:nvPicPr>
        <p:blipFill rotWithShape="1">
          <a:blip r:embed="rId9">
            <a:extLst>
              <a:ext uri="{96DAC541-7B7A-43D3-8B79-37D633B846F1}">
                <asvg:svgBlip xmlns="" xmlns:asvg="http://schemas.microsoft.com/office/drawing/2016/SVG/main" r:embed="rId10"/>
              </a:ext>
            </a:extLst>
          </a:blip>
          <a:srcRect l="81836" t="-4713" b="16530"/>
          <a:stretch/>
        </p:blipFill>
        <p:spPr>
          <a:xfrm>
            <a:off x="9382583" y="188640"/>
            <a:ext cx="344789" cy="459624"/>
          </a:xfrm>
          <a:prstGeom prst="rect">
            <a:avLst/>
          </a:prstGeom>
        </p:spPr>
      </p:pic>
    </p:spTree>
    <p:extLst>
      <p:ext uri="{BB962C8B-B14F-4D97-AF65-F5344CB8AC3E}">
        <p14:creationId xmlns:p14="http://schemas.microsoft.com/office/powerpoint/2010/main" val="101690009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6.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331491" y="457200"/>
            <a:ext cx="4036445" cy="720725"/>
          </a:xfrm>
        </p:spPr>
        <p:txBody>
          <a:bodyPr/>
          <a:lstStyle/>
          <a:p>
            <a:r>
              <a:rPr lang="en-US" sz="2800" b="1" dirty="0"/>
              <a:t>Teradata </a:t>
            </a:r>
            <a:r>
              <a:rPr lang="en-US" sz="2800" b="1" dirty="0" smtClean="0"/>
              <a:t>Basics</a:t>
            </a:r>
            <a:endParaRPr lang="en-US" sz="2800" b="1" dirty="0"/>
          </a:p>
        </p:txBody>
      </p:sp>
      <p:sp>
        <p:nvSpPr>
          <p:cNvPr id="5" name="Subtitle 4"/>
          <p:cNvSpPr>
            <a:spLocks noGrp="1"/>
          </p:cNvSpPr>
          <p:nvPr>
            <p:ph type="subTitle" idx="1"/>
          </p:nvPr>
        </p:nvSpPr>
        <p:spPr>
          <a:xfrm>
            <a:off x="331491" y="2819401"/>
            <a:ext cx="5688309" cy="1143000"/>
          </a:xfrm>
        </p:spPr>
        <p:txBody>
          <a:bodyPr/>
          <a:lstStyle/>
          <a:p>
            <a:r>
              <a:rPr lang="en-US" dirty="0" smtClean="0"/>
              <a:t>Lesson 01: An Overview of Teradata </a:t>
            </a:r>
            <a:endParaRPr lang="en-US" dirty="0"/>
          </a:p>
        </p:txBody>
      </p:sp>
    </p:spTree>
    <p:extLst>
      <p:ext uri="{BB962C8B-B14F-4D97-AF65-F5344CB8AC3E}">
        <p14:creationId xmlns:p14="http://schemas.microsoft.com/office/powerpoint/2010/main" val="33048227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RDBMS Concepts – Primary Key</a:t>
            </a:r>
          </a:p>
        </p:txBody>
      </p:sp>
      <p:sp>
        <p:nvSpPr>
          <p:cNvPr id="7" name="Content Placeholder 6"/>
          <p:cNvSpPr>
            <a:spLocks noGrp="1"/>
          </p:cNvSpPr>
          <p:nvPr>
            <p:ph idx="1"/>
          </p:nvPr>
        </p:nvSpPr>
        <p:spPr/>
        <p:txBody>
          <a:bodyPr/>
          <a:lstStyle/>
          <a:p>
            <a:r>
              <a:rPr lang="en-US" dirty="0"/>
              <a:t>Foreign Key (FK) values model relationships</a:t>
            </a:r>
            <a:r>
              <a:rPr lang="en-US" dirty="0" smtClean="0"/>
              <a:t>.</a:t>
            </a:r>
          </a:p>
          <a:p>
            <a:r>
              <a:rPr lang="en-US" dirty="0"/>
              <a:t>FKs are optional.</a:t>
            </a:r>
          </a:p>
          <a:p>
            <a:r>
              <a:rPr lang="en-US" dirty="0"/>
              <a:t>More than one FK is allowed per table.</a:t>
            </a:r>
          </a:p>
          <a:p>
            <a:r>
              <a:rPr lang="en-US" dirty="0"/>
              <a:t>FKs can be made up of more than one column.</a:t>
            </a:r>
          </a:p>
          <a:p>
            <a:r>
              <a:rPr lang="en-US" dirty="0"/>
              <a:t>Duplicate values may be allowed.</a:t>
            </a:r>
          </a:p>
          <a:p>
            <a:r>
              <a:rPr lang="en-US" dirty="0"/>
              <a:t>Missing (null) FK values may be allowed.</a:t>
            </a:r>
          </a:p>
          <a:p>
            <a:r>
              <a:rPr lang="en-US" dirty="0"/>
              <a:t>Changes to FKs are allowed.</a:t>
            </a:r>
          </a:p>
          <a:p>
            <a:r>
              <a:rPr lang="en-US" dirty="0"/>
              <a:t>Each FK value must exist somewhere as a PK value (i.e.</a:t>
            </a:r>
          </a:p>
          <a:p>
            <a:r>
              <a:rPr lang="en-US" dirty="0"/>
              <a:t>have referential integrity).</a:t>
            </a:r>
          </a:p>
          <a:p>
            <a:endParaRPr lang="en-US" dirty="0" smtClean="0"/>
          </a:p>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RDBMS Concepts – Relational Advantages</a:t>
            </a:r>
          </a:p>
        </p:txBody>
      </p:sp>
      <p:sp>
        <p:nvSpPr>
          <p:cNvPr id="6" name="Content Placeholder 5"/>
          <p:cNvSpPr>
            <a:spLocks noGrp="1"/>
          </p:cNvSpPr>
          <p:nvPr>
            <p:ph idx="1"/>
          </p:nvPr>
        </p:nvSpPr>
        <p:spPr/>
        <p:txBody>
          <a:bodyPr/>
          <a:lstStyle/>
          <a:p>
            <a:r>
              <a:rPr lang="en-US" dirty="0"/>
              <a:t>Advantages of a Relational Database compared to other database  methodologies include:</a:t>
            </a:r>
          </a:p>
          <a:p>
            <a:r>
              <a:rPr lang="en-US" dirty="0" smtClean="0"/>
              <a:t>More </a:t>
            </a:r>
            <a:r>
              <a:rPr lang="en-US" dirty="0"/>
              <a:t>flexible than other types</a:t>
            </a:r>
          </a:p>
          <a:p>
            <a:r>
              <a:rPr lang="en-US" dirty="0"/>
              <a:t>Allowing businesses to quickly respond to changing conditions</a:t>
            </a:r>
          </a:p>
          <a:p>
            <a:r>
              <a:rPr lang="en-US" dirty="0"/>
              <a:t>Being data-driven vs. application driven</a:t>
            </a:r>
          </a:p>
          <a:p>
            <a:r>
              <a:rPr lang="en-US" dirty="0"/>
              <a:t>Modeling the business, not the processes</a:t>
            </a:r>
          </a:p>
          <a:p>
            <a:r>
              <a:rPr lang="en-US" dirty="0"/>
              <a:t>Makes applications easier to build because the data does more of the work</a:t>
            </a:r>
          </a:p>
          <a:p>
            <a:r>
              <a:rPr lang="en-US" dirty="0"/>
              <a:t>Being easy to understand</a:t>
            </a:r>
          </a:p>
          <a:p>
            <a:r>
              <a:rPr lang="en-US" dirty="0"/>
              <a:t>Supporting trend toward end-user computing</a:t>
            </a:r>
          </a:p>
          <a:p>
            <a:r>
              <a:rPr lang="en-US" dirty="0"/>
              <a:t>No need to know the access path</a:t>
            </a:r>
          </a:p>
          <a:p>
            <a:r>
              <a:rPr lang="en-US" dirty="0"/>
              <a:t>Solidly founded in set theory</a:t>
            </a:r>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eradata Overview</a:t>
            </a:r>
          </a:p>
        </p:txBody>
      </p:sp>
      <p:sp>
        <p:nvSpPr>
          <p:cNvPr id="7" name="Content Placeholder 6"/>
          <p:cNvSpPr>
            <a:spLocks noGrp="1"/>
          </p:cNvSpPr>
          <p:nvPr>
            <p:ph idx="1"/>
          </p:nvPr>
        </p:nvSpPr>
        <p:spPr/>
        <p:txBody>
          <a:bodyPr/>
          <a:lstStyle/>
          <a:p>
            <a:r>
              <a:rPr lang="en-US" dirty="0"/>
              <a:t>Teradata is a Relational Database Management System (RDBMS) that drives  an company’s data warehouse.</a:t>
            </a:r>
          </a:p>
          <a:p>
            <a:pPr lvl="1"/>
            <a:r>
              <a:rPr lang="en-US" dirty="0" smtClean="0"/>
              <a:t>An </a:t>
            </a:r>
            <a:r>
              <a:rPr lang="en-US" dirty="0"/>
              <a:t>open system, compliant with industry ANSI standards.</a:t>
            </a:r>
          </a:p>
          <a:p>
            <a:pPr lvl="1"/>
            <a:r>
              <a:rPr lang="en-US" dirty="0"/>
              <a:t>Capable of supporting many concurrent users from various client platforms (over a  TCP/IP or IBM channel connection).</a:t>
            </a:r>
          </a:p>
          <a:p>
            <a:pPr lvl="1"/>
            <a:r>
              <a:rPr lang="en-US" dirty="0"/>
              <a:t>Runs on various OS like Novell SUSE Linux, MS Windows Enterprise Server &amp; other  traditional OS. Hence it is considered an open architecture</a:t>
            </a:r>
          </a:p>
          <a:p>
            <a:pPr lvl="1"/>
            <a:r>
              <a:rPr lang="en-US" dirty="0"/>
              <a:t>Built on a parallel architecture.</a:t>
            </a:r>
          </a:p>
          <a:p>
            <a:endParaRPr lang="en-US" dirty="0"/>
          </a:p>
        </p:txBody>
      </p:sp>
      <p:sp>
        <p:nvSpPr>
          <p:cNvPr id="4" name="object 4"/>
          <p:cNvSpPr/>
          <p:nvPr/>
        </p:nvSpPr>
        <p:spPr>
          <a:xfrm>
            <a:off x="2210513" y="3879816"/>
            <a:ext cx="5476875" cy="2286000"/>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eradata Overview – Why Teradata?</a:t>
            </a:r>
          </a:p>
        </p:txBody>
      </p:sp>
      <p:sp>
        <p:nvSpPr>
          <p:cNvPr id="6" name="Content Placeholder 5"/>
          <p:cNvSpPr>
            <a:spLocks noGrp="1"/>
          </p:cNvSpPr>
          <p:nvPr>
            <p:ph idx="1"/>
          </p:nvPr>
        </p:nvSpPr>
        <p:spPr/>
        <p:txBody>
          <a:bodyPr/>
          <a:lstStyle/>
          <a:p>
            <a:r>
              <a:rPr lang="en-US" dirty="0"/>
              <a:t>Single Data Store</a:t>
            </a:r>
          </a:p>
          <a:p>
            <a:r>
              <a:rPr lang="en-US" dirty="0"/>
              <a:t>Scalability</a:t>
            </a:r>
          </a:p>
          <a:p>
            <a:r>
              <a:rPr lang="en-US" dirty="0"/>
              <a:t>Unconditional Parallelism (parallel architecture)</a:t>
            </a:r>
          </a:p>
          <a:p>
            <a:r>
              <a:rPr lang="en-US" dirty="0" smtClean="0"/>
              <a:t>Parallel </a:t>
            </a:r>
            <a:r>
              <a:rPr lang="en-US" dirty="0"/>
              <a:t>aware optimizer</a:t>
            </a:r>
          </a:p>
          <a:p>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eradata – Single Data Store</a:t>
            </a:r>
          </a:p>
        </p:txBody>
      </p:sp>
      <p:sp>
        <p:nvSpPr>
          <p:cNvPr id="3" name="object 3"/>
          <p:cNvSpPr txBox="1">
            <a:spLocks noGrp="1"/>
          </p:cNvSpPr>
          <p:nvPr>
            <p:ph idx="1"/>
          </p:nvPr>
        </p:nvSpPr>
        <p:spPr>
          <a:xfrm>
            <a:off x="323393" y="1494770"/>
            <a:ext cx="9582608" cy="1823576"/>
          </a:xfrm>
          <a:prstGeom prst="rect">
            <a:avLst/>
          </a:prstGeom>
        </p:spPr>
        <p:txBody>
          <a:bodyPr vert="horz" wrap="square" lIns="0" tIns="0" rIns="0" bIns="0" rtlCol="0">
            <a:spAutoFit/>
          </a:bodyPr>
          <a:lstStyle/>
          <a:p>
            <a:pPr marL="19685">
              <a:lnSpc>
                <a:spcPct val="100000"/>
              </a:lnSpc>
            </a:pPr>
            <a:r>
              <a:rPr spc="-30" dirty="0"/>
              <a:t>Teradata </a:t>
            </a:r>
            <a:r>
              <a:rPr dirty="0"/>
              <a:t>DB acts as a single data store, with multiple client applications</a:t>
            </a:r>
            <a:r>
              <a:rPr spc="-150" dirty="0"/>
              <a:t> </a:t>
            </a:r>
            <a:r>
              <a:rPr dirty="0" smtClean="0"/>
              <a:t>making</a:t>
            </a:r>
            <a:r>
              <a:rPr lang="en-US" dirty="0" smtClean="0"/>
              <a:t> </a:t>
            </a:r>
            <a:r>
              <a:rPr dirty="0" smtClean="0"/>
              <a:t>inquiries </a:t>
            </a:r>
            <a:r>
              <a:rPr dirty="0"/>
              <a:t>against it</a:t>
            </a:r>
            <a:r>
              <a:rPr spc="-110" dirty="0"/>
              <a:t> </a:t>
            </a:r>
            <a:r>
              <a:rPr spc="-10" dirty="0"/>
              <a:t>concurrently.</a:t>
            </a:r>
          </a:p>
          <a:p>
            <a:pPr marL="6985">
              <a:lnSpc>
                <a:spcPct val="100000"/>
              </a:lnSpc>
              <a:spcBef>
                <a:spcPts val="40"/>
              </a:spcBef>
            </a:pPr>
            <a:endParaRPr sz="2050" dirty="0">
              <a:latin typeface="Times New Roman"/>
              <a:cs typeface="Times New Roman"/>
            </a:endParaRPr>
          </a:p>
          <a:p>
            <a:pPr marL="19685" marR="5080">
              <a:lnSpc>
                <a:spcPct val="100000"/>
              </a:lnSpc>
            </a:pPr>
            <a:r>
              <a:rPr dirty="0"/>
              <a:t>Instead of replicating a database for </a:t>
            </a:r>
            <a:r>
              <a:rPr spc="-5" dirty="0"/>
              <a:t>different </a:t>
            </a:r>
            <a:r>
              <a:rPr dirty="0"/>
              <a:t>purpose, with </a:t>
            </a:r>
            <a:r>
              <a:rPr spc="-5" dirty="0"/>
              <a:t>the </a:t>
            </a:r>
            <a:r>
              <a:rPr spc="-30" dirty="0"/>
              <a:t>Teradata </a:t>
            </a:r>
            <a:r>
              <a:rPr dirty="0"/>
              <a:t>DB</a:t>
            </a:r>
            <a:r>
              <a:rPr spc="-220" dirty="0"/>
              <a:t> </a:t>
            </a:r>
            <a:r>
              <a:rPr spc="-5" dirty="0"/>
              <a:t>you  </a:t>
            </a:r>
            <a:r>
              <a:rPr dirty="0"/>
              <a:t>store the data once &amp; use it for many</a:t>
            </a:r>
            <a:r>
              <a:rPr spc="-195" dirty="0"/>
              <a:t> </a:t>
            </a:r>
            <a:r>
              <a:rPr dirty="0"/>
              <a:t>applications.</a:t>
            </a:r>
          </a:p>
        </p:txBody>
      </p:sp>
      <p:sp>
        <p:nvSpPr>
          <p:cNvPr id="4" name="object 4"/>
          <p:cNvSpPr/>
          <p:nvPr/>
        </p:nvSpPr>
        <p:spPr>
          <a:xfrm>
            <a:off x="1247775" y="3352801"/>
            <a:ext cx="7410451" cy="2895600"/>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eradata – Scalability</a:t>
            </a:r>
          </a:p>
        </p:txBody>
      </p:sp>
      <p:sp>
        <p:nvSpPr>
          <p:cNvPr id="7" name="Content Placeholder 6"/>
          <p:cNvSpPr>
            <a:spLocks noGrp="1"/>
          </p:cNvSpPr>
          <p:nvPr>
            <p:ph idx="1"/>
          </p:nvPr>
        </p:nvSpPr>
        <p:spPr/>
        <p:txBody>
          <a:bodyPr/>
          <a:lstStyle/>
          <a:p>
            <a:r>
              <a:rPr lang="en-US" dirty="0" smtClean="0"/>
              <a:t>“</a:t>
            </a:r>
            <a:r>
              <a:rPr lang="en-US" dirty="0"/>
              <a:t>Linear Scalability” means that as you add components to the system, the  performance increase is linear. Linear Scalability enables the system to grow  to support more users/data/queries/complexity of queries without experiencing  performance degradation</a:t>
            </a:r>
            <a:r>
              <a:rPr lang="en-US" dirty="0" smtClean="0"/>
              <a:t>.</a:t>
            </a:r>
            <a:endParaRPr lang="en-US" dirty="0"/>
          </a:p>
          <a:p>
            <a:r>
              <a:rPr lang="en-US" dirty="0" smtClean="0"/>
              <a:t>Teradata </a:t>
            </a:r>
            <a:r>
              <a:rPr lang="en-US" dirty="0"/>
              <a:t>DB was the 1st commercial database system to scale &amp; support a  trillion bytes of </a:t>
            </a:r>
            <a:r>
              <a:rPr lang="en-US" dirty="0" smtClean="0"/>
              <a:t>data.</a:t>
            </a:r>
            <a:endParaRPr lang="en-US" dirty="0"/>
          </a:p>
          <a:p>
            <a:r>
              <a:rPr lang="en-US" dirty="0" smtClean="0"/>
              <a:t>Teradata </a:t>
            </a:r>
            <a:r>
              <a:rPr lang="en-US" dirty="0"/>
              <a:t>DB can scale from 100 GB’s to over 100+ petabytes of data.</a:t>
            </a:r>
          </a:p>
          <a:p>
            <a:endParaRPr lang="en-US" dirty="0"/>
          </a:p>
        </p:txBody>
      </p:sp>
      <p:sp>
        <p:nvSpPr>
          <p:cNvPr id="4" name="object 4"/>
          <p:cNvSpPr/>
          <p:nvPr/>
        </p:nvSpPr>
        <p:spPr>
          <a:xfrm>
            <a:off x="914401" y="3952876"/>
            <a:ext cx="7981949" cy="2219325"/>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Teradata Overview – Designed for Today’s Business</a:t>
            </a:r>
          </a:p>
        </p:txBody>
      </p:sp>
      <p:sp>
        <p:nvSpPr>
          <p:cNvPr id="6" name="Content Placeholder 5"/>
          <p:cNvSpPr>
            <a:spLocks noGrp="1"/>
          </p:cNvSpPr>
          <p:nvPr>
            <p:ph idx="1"/>
          </p:nvPr>
        </p:nvSpPr>
        <p:spPr/>
        <p:txBody>
          <a:bodyPr/>
          <a:lstStyle/>
          <a:p>
            <a:r>
              <a:rPr lang="en-US" dirty="0"/>
              <a:t>Teradata meets the business needs of today &amp; tomorrow with:</a:t>
            </a:r>
          </a:p>
          <a:p>
            <a:pPr lvl="1"/>
            <a:r>
              <a:rPr lang="en-US" dirty="0" smtClean="0"/>
              <a:t>Relational </a:t>
            </a:r>
            <a:r>
              <a:rPr lang="en-US" dirty="0"/>
              <a:t>model - standard for database design.</a:t>
            </a:r>
          </a:p>
          <a:p>
            <a:pPr lvl="1"/>
            <a:r>
              <a:rPr lang="en-US" dirty="0"/>
              <a:t>Huge capacity (billions of rows, terabytes of data).</a:t>
            </a:r>
          </a:p>
          <a:p>
            <a:pPr lvl="1"/>
            <a:r>
              <a:rPr lang="en-US" dirty="0"/>
              <a:t>High performance parallel processing</a:t>
            </a:r>
          </a:p>
          <a:p>
            <a:pPr lvl="1"/>
            <a:r>
              <a:rPr lang="en-US" dirty="0"/>
              <a:t>Single database server for multiple clients (“Single Version of  the Truth”).</a:t>
            </a:r>
          </a:p>
          <a:p>
            <a:pPr lvl="1"/>
            <a:r>
              <a:rPr lang="en-US" dirty="0"/>
              <a:t>Network and mainframe connectivity.</a:t>
            </a:r>
          </a:p>
          <a:p>
            <a:pPr lvl="1"/>
            <a:r>
              <a:rPr lang="en-US" dirty="0"/>
              <a:t>Industry standard access language (SQL).</a:t>
            </a:r>
          </a:p>
          <a:p>
            <a:pPr lvl="1"/>
            <a:r>
              <a:rPr lang="en-US" dirty="0"/>
              <a:t>Manageable growth through modularity.</a:t>
            </a:r>
          </a:p>
          <a:p>
            <a:pPr lvl="1"/>
            <a:r>
              <a:rPr lang="en-US" dirty="0"/>
              <a:t>Fault tolerance at all levels of hardware and software.</a:t>
            </a:r>
          </a:p>
          <a:p>
            <a:pPr lvl="1"/>
            <a:r>
              <a:rPr lang="en-US" dirty="0"/>
              <a:t>Data integrity and reliability.</a:t>
            </a:r>
          </a:p>
          <a:p>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eradata Overview – Review</a:t>
            </a:r>
          </a:p>
        </p:txBody>
      </p:sp>
      <p:sp>
        <p:nvSpPr>
          <p:cNvPr id="6" name="Content Placeholder 5"/>
          <p:cNvSpPr>
            <a:spLocks noGrp="1"/>
          </p:cNvSpPr>
          <p:nvPr>
            <p:ph idx="1"/>
          </p:nvPr>
        </p:nvSpPr>
        <p:spPr/>
        <p:txBody>
          <a:bodyPr/>
          <a:lstStyle/>
          <a:p>
            <a:r>
              <a:rPr lang="en-US" dirty="0"/>
              <a:t>Designed to process large quantities of detail data.</a:t>
            </a:r>
          </a:p>
          <a:p>
            <a:r>
              <a:rPr lang="en-US" dirty="0"/>
              <a:t>Ideal for data warehouse applications.</a:t>
            </a:r>
          </a:p>
          <a:p>
            <a:r>
              <a:rPr lang="en-US" dirty="0"/>
              <a:t>Parallelism makes easy access to very large tables possible.</a:t>
            </a:r>
          </a:p>
          <a:p>
            <a:r>
              <a:rPr lang="en-US" dirty="0"/>
              <a:t>Open architecture - uses industry standard components.</a:t>
            </a:r>
          </a:p>
          <a:p>
            <a:r>
              <a:rPr lang="en-US" dirty="0"/>
              <a:t>Scalability - Performance increase is linear as components are added.</a:t>
            </a:r>
          </a:p>
          <a:p>
            <a:r>
              <a:rPr lang="en-US" dirty="0"/>
              <a:t>Runs as a database server to client applications.</a:t>
            </a:r>
          </a:p>
          <a:p>
            <a:r>
              <a:rPr lang="en-US" dirty="0" smtClean="0"/>
              <a:t>Runs </a:t>
            </a:r>
            <a:r>
              <a:rPr lang="en-US" dirty="0"/>
              <a:t>on multiple hardware platforms.</a:t>
            </a:r>
          </a:p>
          <a:p>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762000" y="1295400"/>
            <a:ext cx="8458200" cy="491490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Teradata and Data Warehouse</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eradata &amp; Data Warehouse</a:t>
            </a:r>
          </a:p>
        </p:txBody>
      </p:sp>
      <p:sp>
        <p:nvSpPr>
          <p:cNvPr id="7" name="Content Placeholder 6"/>
          <p:cNvSpPr>
            <a:spLocks noGrp="1"/>
          </p:cNvSpPr>
          <p:nvPr>
            <p:ph idx="1"/>
          </p:nvPr>
        </p:nvSpPr>
        <p:spPr>
          <a:xfrm>
            <a:off x="323393" y="1371601"/>
            <a:ext cx="9582608" cy="4643751"/>
          </a:xfrm>
        </p:spPr>
        <p:txBody>
          <a:bodyPr/>
          <a:lstStyle/>
          <a:p>
            <a:r>
              <a:rPr lang="en-US" dirty="0"/>
              <a:t>Data Warehouse:</a:t>
            </a:r>
          </a:p>
          <a:p>
            <a:r>
              <a:rPr lang="en-US" dirty="0" smtClean="0"/>
              <a:t>A </a:t>
            </a:r>
            <a:r>
              <a:rPr lang="en-US" dirty="0"/>
              <a:t>central, enterprise-wide database that contains information  extracted from operational systems.</a:t>
            </a:r>
          </a:p>
          <a:p>
            <a:pPr lvl="1"/>
            <a:r>
              <a:rPr lang="en-US" dirty="0" smtClean="0"/>
              <a:t>Based </a:t>
            </a:r>
            <a:r>
              <a:rPr lang="en-US" dirty="0"/>
              <a:t>on enterprise wide model</a:t>
            </a:r>
          </a:p>
          <a:p>
            <a:pPr lvl="1"/>
            <a:r>
              <a:rPr lang="en-US" dirty="0"/>
              <a:t>Can begin small but may grow large rapidly</a:t>
            </a:r>
          </a:p>
          <a:p>
            <a:pPr lvl="1"/>
            <a:r>
              <a:rPr lang="en-US" dirty="0"/>
              <a:t>Populated by extraction/loading of data from operational systems</a:t>
            </a:r>
          </a:p>
          <a:p>
            <a:pPr lvl="1"/>
            <a:r>
              <a:rPr lang="en-US" dirty="0"/>
              <a:t>Responds to end-user “what if” queries</a:t>
            </a:r>
          </a:p>
          <a:p>
            <a:endParaRPr lang="en-US" dirty="0"/>
          </a:p>
        </p:txBody>
      </p:sp>
      <p:sp>
        <p:nvSpPr>
          <p:cNvPr id="4" name="object 4"/>
          <p:cNvSpPr/>
          <p:nvPr/>
        </p:nvSpPr>
        <p:spPr>
          <a:xfrm>
            <a:off x="1447801" y="3733800"/>
            <a:ext cx="7134225" cy="2514600"/>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sz="2800" dirty="0"/>
              <a:t>Module Object</a:t>
            </a:r>
          </a:p>
        </p:txBody>
      </p:sp>
      <p:sp>
        <p:nvSpPr>
          <p:cNvPr id="7" name="Content Placeholder 6"/>
          <p:cNvSpPr>
            <a:spLocks noGrp="1"/>
          </p:cNvSpPr>
          <p:nvPr>
            <p:ph idx="1"/>
          </p:nvPr>
        </p:nvSpPr>
        <p:spPr/>
        <p:txBody>
          <a:bodyPr/>
          <a:lstStyle/>
          <a:p>
            <a:r>
              <a:rPr lang="en-US" sz="2000" dirty="0"/>
              <a:t>RDBMS Concepts</a:t>
            </a:r>
          </a:p>
          <a:p>
            <a:r>
              <a:rPr lang="en-US" sz="2000" dirty="0"/>
              <a:t>Teradata Overview</a:t>
            </a:r>
          </a:p>
          <a:p>
            <a:r>
              <a:rPr lang="en-US" sz="2000" dirty="0"/>
              <a:t>Teradata and Data warehouse</a:t>
            </a:r>
          </a:p>
          <a:p>
            <a:r>
              <a:rPr lang="en-US" sz="2000" dirty="0"/>
              <a:t>Components and Architecture</a:t>
            </a:r>
          </a:p>
          <a:p>
            <a:r>
              <a:rPr lang="en-US" sz="2000" dirty="0"/>
              <a:t>Teradata </a:t>
            </a:r>
            <a:r>
              <a:rPr lang="en-US" sz="2000" dirty="0" err="1"/>
              <a:t>Utiltities</a:t>
            </a:r>
            <a:endParaRPr lang="en-US" sz="2000" dirty="0"/>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eradata &amp; Data Warehouse</a:t>
            </a:r>
          </a:p>
        </p:txBody>
      </p:sp>
      <p:sp>
        <p:nvSpPr>
          <p:cNvPr id="7" name="Content Placeholder 6"/>
          <p:cNvSpPr>
            <a:spLocks noGrp="1"/>
          </p:cNvSpPr>
          <p:nvPr>
            <p:ph idx="1"/>
          </p:nvPr>
        </p:nvSpPr>
        <p:spPr>
          <a:xfrm>
            <a:off x="323392" y="1268413"/>
            <a:ext cx="9251119" cy="4870107"/>
          </a:xfrm>
        </p:spPr>
        <p:txBody>
          <a:bodyPr/>
          <a:lstStyle/>
          <a:p>
            <a:r>
              <a:rPr lang="en-US" dirty="0"/>
              <a:t>Data marts:</a:t>
            </a:r>
          </a:p>
          <a:p>
            <a:r>
              <a:rPr lang="en-US" dirty="0"/>
              <a:t>A data mart is a special purpose subset of enterprise data for a particular function </a:t>
            </a:r>
            <a:r>
              <a:rPr lang="en-US" dirty="0" smtClean="0"/>
              <a:t>or application</a:t>
            </a:r>
            <a:r>
              <a:rPr lang="en-US" dirty="0"/>
              <a:t>. It may contain detail or summary data or both.</a:t>
            </a:r>
          </a:p>
          <a:p>
            <a:endParaRPr lang="en-US" dirty="0"/>
          </a:p>
          <a:p>
            <a:r>
              <a:rPr lang="en-US" dirty="0"/>
              <a:t>Data mart types:</a:t>
            </a:r>
          </a:p>
          <a:p>
            <a:pPr lvl="1"/>
            <a:r>
              <a:rPr lang="en-US" dirty="0"/>
              <a:t>Independent—created directly from operational systems to a separate physical  </a:t>
            </a:r>
            <a:r>
              <a:rPr lang="en-US" dirty="0" err="1"/>
              <a:t>datastore</a:t>
            </a:r>
            <a:r>
              <a:rPr lang="en-US" dirty="0"/>
              <a:t>.</a:t>
            </a:r>
          </a:p>
          <a:p>
            <a:pPr lvl="1"/>
            <a:r>
              <a:rPr lang="en-US" dirty="0"/>
              <a:t>Logical—exists as a subset of existing data warehouse.</a:t>
            </a:r>
          </a:p>
          <a:p>
            <a:pPr lvl="1"/>
            <a:r>
              <a:rPr lang="en-US" dirty="0"/>
              <a:t>Dependent—created from data warehouse to a separate physical data store.</a:t>
            </a:r>
          </a:p>
          <a:p>
            <a:endParaRPr lang="en-US" dirty="0"/>
          </a:p>
        </p:txBody>
      </p:sp>
      <p:sp>
        <p:nvSpPr>
          <p:cNvPr id="4" name="object 4"/>
          <p:cNvSpPr/>
          <p:nvPr/>
        </p:nvSpPr>
        <p:spPr>
          <a:xfrm>
            <a:off x="2590800" y="4419600"/>
            <a:ext cx="5095874" cy="2286000"/>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eradata → SMP v/s MPP</a:t>
            </a:r>
          </a:p>
        </p:txBody>
      </p:sp>
      <p:sp>
        <p:nvSpPr>
          <p:cNvPr id="7" name="Content Placeholder 6"/>
          <p:cNvSpPr>
            <a:spLocks noGrp="1"/>
          </p:cNvSpPr>
          <p:nvPr>
            <p:ph idx="1"/>
          </p:nvPr>
        </p:nvSpPr>
        <p:spPr>
          <a:xfrm>
            <a:off x="323393" y="1371601"/>
            <a:ext cx="9582608" cy="4643751"/>
          </a:xfrm>
        </p:spPr>
        <p:txBody>
          <a:bodyPr/>
          <a:lstStyle/>
          <a:p>
            <a:r>
              <a:rPr lang="en-US" dirty="0"/>
              <a:t>SMP → Symmetric Multiprocessing Platforms manage terabytes of data to  support an entry-level data warehousing system.</a:t>
            </a:r>
          </a:p>
          <a:p>
            <a:r>
              <a:rPr lang="en-US" dirty="0"/>
              <a:t>MPP → Massively Parallel Processing systems can manage hundreds of  petabytes of data. You can start with a couple of nodes</a:t>
            </a:r>
          </a:p>
          <a:p>
            <a:endParaRPr lang="en-US" dirty="0"/>
          </a:p>
        </p:txBody>
      </p:sp>
      <p:sp>
        <p:nvSpPr>
          <p:cNvPr id="4" name="object 4"/>
          <p:cNvSpPr/>
          <p:nvPr/>
        </p:nvSpPr>
        <p:spPr>
          <a:xfrm>
            <a:off x="868680" y="2880360"/>
            <a:ext cx="8046720" cy="3291840"/>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eradata and Data Warehouse</a:t>
            </a:r>
          </a:p>
        </p:txBody>
      </p:sp>
      <p:sp>
        <p:nvSpPr>
          <p:cNvPr id="8" name="Content Placeholder 7"/>
          <p:cNvSpPr>
            <a:spLocks noGrp="1"/>
          </p:cNvSpPr>
          <p:nvPr>
            <p:ph idx="1"/>
          </p:nvPr>
        </p:nvSpPr>
        <p:spPr/>
        <p:txBody>
          <a:bodyPr/>
          <a:lstStyle/>
          <a:p>
            <a:r>
              <a:rPr lang="en-US" dirty="0"/>
              <a:t>Active Data Warehousing</a:t>
            </a:r>
          </a:p>
          <a:p>
            <a:r>
              <a:rPr lang="en-US" dirty="0" smtClean="0"/>
              <a:t>Performance</a:t>
            </a:r>
            <a:endParaRPr lang="en-US" dirty="0"/>
          </a:p>
          <a:p>
            <a:pPr lvl="1"/>
            <a:r>
              <a:rPr lang="en-US" dirty="0"/>
              <a:t>Response time within seconds.</a:t>
            </a:r>
          </a:p>
          <a:p>
            <a:r>
              <a:rPr lang="en-US" dirty="0"/>
              <a:t>Scalability</a:t>
            </a:r>
          </a:p>
          <a:p>
            <a:pPr lvl="1"/>
            <a:r>
              <a:rPr lang="en-US" dirty="0"/>
              <a:t>Support for large amounts of detailed data, mixed workloads (both tactical and  strategic queries) for mission critical applications, and concurrent users.</a:t>
            </a:r>
          </a:p>
          <a:p>
            <a:r>
              <a:rPr lang="en-US" dirty="0"/>
              <a:t>Availability and Reliability</a:t>
            </a:r>
          </a:p>
          <a:p>
            <a:pPr lvl="1"/>
            <a:r>
              <a:rPr lang="en-US" dirty="0"/>
              <a:t>– 7 x 24</a:t>
            </a:r>
          </a:p>
          <a:p>
            <a:r>
              <a:rPr lang="en-US" dirty="0"/>
              <a:t>Data Freshness</a:t>
            </a:r>
          </a:p>
          <a:p>
            <a:pPr lvl="1"/>
            <a:r>
              <a:rPr lang="en-US" dirty="0"/>
              <a:t>– Accurate, up to the minute, data including access to operational data  store level information.</a:t>
            </a:r>
          </a:p>
          <a:p>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609600" y="1268413"/>
            <a:ext cx="8321040" cy="484632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Teradata → Components and Architecture</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942976" y="1371600"/>
            <a:ext cx="8412481" cy="475488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Teradata → Components and Architecture</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68680" y="1371600"/>
            <a:ext cx="8046720" cy="466344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Components and Architecture</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95351" y="1371600"/>
            <a:ext cx="8324850" cy="464820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Components and Architecture</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omponents and Architecture</a:t>
            </a:r>
          </a:p>
        </p:txBody>
      </p:sp>
      <p:sp>
        <p:nvSpPr>
          <p:cNvPr id="6" name="Content Placeholder 5"/>
          <p:cNvSpPr>
            <a:spLocks noGrp="1"/>
          </p:cNvSpPr>
          <p:nvPr>
            <p:ph idx="1"/>
          </p:nvPr>
        </p:nvSpPr>
        <p:spPr/>
        <p:txBody>
          <a:bodyPr/>
          <a:lstStyle/>
          <a:p>
            <a:r>
              <a:rPr lang="en-US" dirty="0"/>
              <a:t>Major Components of a Teradata </a:t>
            </a:r>
            <a:r>
              <a:rPr lang="en-US" dirty="0" smtClean="0"/>
              <a:t>System</a:t>
            </a:r>
          </a:p>
          <a:p>
            <a:endParaRPr lang="en-US" dirty="0"/>
          </a:p>
          <a:p>
            <a:r>
              <a:rPr lang="en-US" dirty="0" smtClean="0"/>
              <a:t>Parsing </a:t>
            </a:r>
            <a:r>
              <a:rPr lang="en-US" dirty="0"/>
              <a:t>Engine (PE)</a:t>
            </a:r>
          </a:p>
          <a:p>
            <a:pPr lvl="1"/>
            <a:r>
              <a:rPr lang="en-US" dirty="0"/>
              <a:t>The Parsing Engine (PE) is a component that interprets SQL requests, receives input records,  and passes data. To do that it sends the messages through the BYNET to the AMPs</a:t>
            </a:r>
            <a:r>
              <a:rPr lang="en-US" dirty="0" smtClean="0"/>
              <a:t>.</a:t>
            </a:r>
          </a:p>
          <a:p>
            <a:pPr lvl="1"/>
            <a:endParaRPr lang="en-US" dirty="0"/>
          </a:p>
          <a:p>
            <a:r>
              <a:rPr lang="en-US" dirty="0" smtClean="0"/>
              <a:t>BYNET</a:t>
            </a:r>
            <a:endParaRPr lang="en-US" dirty="0"/>
          </a:p>
          <a:p>
            <a:pPr lvl="1"/>
            <a:r>
              <a:rPr lang="en-US" dirty="0"/>
              <a:t>The BYNET is the message-passing layer. It determines which AMP(s) (Access Module  Processor) should receive a message</a:t>
            </a:r>
            <a:r>
              <a:rPr lang="en-US" dirty="0" smtClean="0"/>
              <a:t>.</a:t>
            </a:r>
          </a:p>
          <a:p>
            <a:pPr lvl="1"/>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omponents and Architecture</a:t>
            </a:r>
          </a:p>
        </p:txBody>
      </p:sp>
      <p:sp>
        <p:nvSpPr>
          <p:cNvPr id="6" name="Content Placeholder 5"/>
          <p:cNvSpPr>
            <a:spLocks noGrp="1"/>
          </p:cNvSpPr>
          <p:nvPr>
            <p:ph idx="1"/>
          </p:nvPr>
        </p:nvSpPr>
        <p:spPr/>
        <p:txBody>
          <a:bodyPr/>
          <a:lstStyle/>
          <a:p>
            <a:r>
              <a:rPr lang="en-US" dirty="0" smtClean="0"/>
              <a:t>Access </a:t>
            </a:r>
            <a:r>
              <a:rPr lang="en-US" dirty="0"/>
              <a:t>Module Processor (AMP)</a:t>
            </a:r>
          </a:p>
          <a:p>
            <a:pPr lvl="1"/>
            <a:r>
              <a:rPr lang="en-US" dirty="0"/>
              <a:t>The AMP is a virtual processor (</a:t>
            </a:r>
            <a:r>
              <a:rPr lang="en-US" dirty="0" err="1"/>
              <a:t>vproc</a:t>
            </a:r>
            <a:r>
              <a:rPr lang="en-US" dirty="0"/>
              <a:t>) designed for and dedicated to managing a portion of  the entire database. It performs all database management functions such as sorting,  aggregating, and formatting data. The AMP receives data from the PE, formats rows, and  distributes them to the disk storage units it controls. The AMP also retrieves the rows  requested by the Parsing Engine.</a:t>
            </a:r>
          </a:p>
          <a:p>
            <a:endParaRPr lang="en-US" dirty="0"/>
          </a:p>
          <a:p>
            <a:r>
              <a:rPr lang="en-US" dirty="0" smtClean="0"/>
              <a:t>Disks</a:t>
            </a:r>
            <a:endParaRPr lang="en-US" dirty="0"/>
          </a:p>
          <a:p>
            <a:pPr lvl="1"/>
            <a:r>
              <a:rPr lang="en-US" dirty="0"/>
              <a:t>Disks are disk drives associated with an AMP that store the data rows. On current systems,  they are implemented using a disk array</a:t>
            </a:r>
          </a:p>
          <a:p>
            <a:endParaRPr lang="en-US" dirty="0"/>
          </a:p>
        </p:txBody>
      </p:sp>
    </p:spTree>
    <p:extLst>
      <p:ext uri="{BB962C8B-B14F-4D97-AF65-F5344CB8AC3E}">
        <p14:creationId xmlns:p14="http://schemas.microsoft.com/office/powerpoint/2010/main" val="39332712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571500" y="1404874"/>
            <a:ext cx="8496300" cy="4767326"/>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Components and Architectur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800" dirty="0"/>
              <a:t>RDBMS </a:t>
            </a:r>
            <a:r>
              <a:rPr lang="en-US" sz="2800" dirty="0" smtClean="0"/>
              <a:t>Concepts What </a:t>
            </a:r>
            <a:r>
              <a:rPr lang="en-US" sz="2800" dirty="0"/>
              <a:t>is a Relational Database?</a:t>
            </a:r>
          </a:p>
        </p:txBody>
      </p:sp>
      <p:sp>
        <p:nvSpPr>
          <p:cNvPr id="6" name="Content Placeholder 5"/>
          <p:cNvSpPr>
            <a:spLocks noGrp="1"/>
          </p:cNvSpPr>
          <p:nvPr>
            <p:ph idx="1"/>
          </p:nvPr>
        </p:nvSpPr>
        <p:spPr/>
        <p:txBody>
          <a:bodyPr>
            <a:normAutofit/>
          </a:bodyPr>
          <a:lstStyle/>
          <a:p>
            <a:r>
              <a:rPr lang="en-US" sz="2000" dirty="0"/>
              <a:t>What is a Relation Database ?</a:t>
            </a:r>
          </a:p>
          <a:p>
            <a:r>
              <a:rPr lang="en-US" sz="2000" dirty="0"/>
              <a:t>A database is a collection of permanently stored data that is:</a:t>
            </a:r>
          </a:p>
          <a:p>
            <a:endParaRPr lang="en-US" sz="2000" dirty="0"/>
          </a:p>
          <a:p>
            <a:r>
              <a:rPr lang="en-US" sz="2000" dirty="0" smtClean="0"/>
              <a:t>Logically </a:t>
            </a:r>
            <a:r>
              <a:rPr lang="en-US" sz="2000" dirty="0"/>
              <a:t>related → data relates to other data</a:t>
            </a:r>
          </a:p>
          <a:p>
            <a:r>
              <a:rPr lang="en-US" sz="2000" dirty="0"/>
              <a:t>Shared → many users may access data.</a:t>
            </a:r>
          </a:p>
          <a:p>
            <a:r>
              <a:rPr lang="en-US" sz="2000" dirty="0"/>
              <a:t>Protected → access to data is controlled.</a:t>
            </a:r>
          </a:p>
          <a:p>
            <a:r>
              <a:rPr lang="en-US" sz="2000" dirty="0"/>
              <a:t>Managed → data integrity and value is maintained.</a:t>
            </a:r>
          </a:p>
          <a:p>
            <a:endParaRPr lang="en-US" sz="2000" dirty="0"/>
          </a:p>
          <a:p>
            <a:r>
              <a:rPr lang="en-US" sz="2000" dirty="0"/>
              <a:t>Relational databases are based on the relational model, which is founded on  mathematical Set Theory.</a:t>
            </a:r>
          </a:p>
          <a:p>
            <a:endParaRPr lang="en-US" sz="20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838200" y="1219201"/>
            <a:ext cx="8458200" cy="4981575"/>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Components and Architecture</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990601" y="1295400"/>
            <a:ext cx="7863840" cy="457200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lstStyle/>
          <a:p>
            <a:r>
              <a:rPr lang="en-US" dirty="0"/>
              <a:t>Components and Architecture</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eradata Utilities</a:t>
            </a:r>
          </a:p>
        </p:txBody>
      </p:sp>
      <p:sp>
        <p:nvSpPr>
          <p:cNvPr id="7" name="Content Placeholder 6"/>
          <p:cNvSpPr>
            <a:spLocks noGrp="1"/>
          </p:cNvSpPr>
          <p:nvPr>
            <p:ph idx="1"/>
          </p:nvPr>
        </p:nvSpPr>
        <p:spPr/>
        <p:txBody>
          <a:bodyPr/>
          <a:lstStyle/>
          <a:p>
            <a:r>
              <a:rPr lang="en-US" dirty="0"/>
              <a:t>Teradata utilities leverage the Teradata Database’s high performance capabilities </a:t>
            </a:r>
            <a:r>
              <a:rPr lang="en-US" dirty="0" smtClean="0"/>
              <a:t>&amp; are </a:t>
            </a:r>
            <a:r>
              <a:rPr lang="en-US" dirty="0"/>
              <a:t>fully parallel &amp; scalable. They run on both SMP &amp; MPP systems</a:t>
            </a:r>
            <a:r>
              <a:rPr lang="en-US" dirty="0" smtClean="0"/>
              <a:t>.</a:t>
            </a:r>
            <a:endParaRPr lang="en-US" dirty="0"/>
          </a:p>
          <a:p>
            <a:r>
              <a:rPr lang="en-US" dirty="0"/>
              <a:t>Utilities which are commonly used by all Teradata Developer’:-</a:t>
            </a:r>
          </a:p>
          <a:p>
            <a:endParaRPr lang="en-US" dirty="0"/>
          </a:p>
        </p:txBody>
      </p:sp>
      <p:sp>
        <p:nvSpPr>
          <p:cNvPr id="4" name="object 4"/>
          <p:cNvSpPr/>
          <p:nvPr/>
        </p:nvSpPr>
        <p:spPr>
          <a:xfrm>
            <a:off x="2781301" y="3124200"/>
            <a:ext cx="4343400" cy="2971800"/>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eradata Utilities</a:t>
            </a:r>
          </a:p>
        </p:txBody>
      </p:sp>
      <p:sp>
        <p:nvSpPr>
          <p:cNvPr id="7" name="Content Placeholder 6"/>
          <p:cNvSpPr>
            <a:spLocks noGrp="1"/>
          </p:cNvSpPr>
          <p:nvPr>
            <p:ph idx="1"/>
          </p:nvPr>
        </p:nvSpPr>
        <p:spPr>
          <a:xfrm>
            <a:off x="323393" y="1452250"/>
            <a:ext cx="9582608" cy="4643751"/>
          </a:xfrm>
        </p:spPr>
        <p:txBody>
          <a:bodyPr/>
          <a:lstStyle/>
          <a:p>
            <a:r>
              <a:rPr lang="en-US" dirty="0"/>
              <a:t>Utilities which are commonly used by all Teradata DBA’s:-</a:t>
            </a:r>
          </a:p>
          <a:p>
            <a:endParaRPr lang="en-US" dirty="0"/>
          </a:p>
        </p:txBody>
      </p:sp>
      <p:sp>
        <p:nvSpPr>
          <p:cNvPr id="4" name="object 4"/>
          <p:cNvSpPr/>
          <p:nvPr/>
        </p:nvSpPr>
        <p:spPr>
          <a:xfrm>
            <a:off x="1295400" y="1828800"/>
            <a:ext cx="7467600" cy="4419600"/>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Review Questions</a:t>
            </a:r>
          </a:p>
        </p:txBody>
      </p:sp>
      <p:sp>
        <p:nvSpPr>
          <p:cNvPr id="6" name="Content Placeholder 5"/>
          <p:cNvSpPr>
            <a:spLocks noGrp="1"/>
          </p:cNvSpPr>
          <p:nvPr>
            <p:ph idx="1"/>
          </p:nvPr>
        </p:nvSpPr>
        <p:spPr>
          <a:xfrm>
            <a:off x="323394" y="1371600"/>
            <a:ext cx="7461338" cy="4643751"/>
          </a:xfrm>
        </p:spPr>
        <p:txBody>
          <a:bodyPr/>
          <a:lstStyle/>
          <a:p>
            <a:r>
              <a:rPr lang="en-US" dirty="0"/>
              <a:t>Match each term with its definition below:</a:t>
            </a:r>
          </a:p>
          <a:p>
            <a:pPr lvl="1"/>
            <a:r>
              <a:rPr lang="en-US" dirty="0" smtClean="0"/>
              <a:t>1</a:t>
            </a:r>
            <a:r>
              <a:rPr lang="en-US" dirty="0"/>
              <a:t>. Database</a:t>
            </a:r>
          </a:p>
          <a:p>
            <a:pPr lvl="1"/>
            <a:r>
              <a:rPr lang="en-US" dirty="0" smtClean="0"/>
              <a:t>2</a:t>
            </a:r>
            <a:r>
              <a:rPr lang="en-US" dirty="0"/>
              <a:t>. Table</a:t>
            </a:r>
          </a:p>
          <a:p>
            <a:pPr lvl="1"/>
            <a:r>
              <a:rPr lang="en-US" dirty="0" smtClean="0"/>
              <a:t>3</a:t>
            </a:r>
            <a:r>
              <a:rPr lang="en-US" dirty="0"/>
              <a:t>. Relational database</a:t>
            </a:r>
          </a:p>
          <a:p>
            <a:pPr lvl="1"/>
            <a:r>
              <a:rPr lang="en-US" dirty="0" smtClean="0"/>
              <a:t>4</a:t>
            </a:r>
            <a:r>
              <a:rPr lang="en-US" dirty="0"/>
              <a:t>. Primary Key</a:t>
            </a:r>
          </a:p>
          <a:p>
            <a:pPr lvl="1"/>
            <a:r>
              <a:rPr lang="en-US" dirty="0" smtClean="0"/>
              <a:t>5</a:t>
            </a:r>
            <a:r>
              <a:rPr lang="en-US" dirty="0"/>
              <a:t>. Null</a:t>
            </a:r>
          </a:p>
          <a:p>
            <a:pPr lvl="1"/>
            <a:r>
              <a:rPr lang="en-US" dirty="0" smtClean="0"/>
              <a:t>6</a:t>
            </a:r>
            <a:r>
              <a:rPr lang="en-US" dirty="0"/>
              <a:t>. Foreign Key</a:t>
            </a:r>
          </a:p>
          <a:p>
            <a:r>
              <a:rPr lang="en-US" dirty="0" smtClean="0"/>
              <a:t>a </a:t>
            </a:r>
            <a:r>
              <a:rPr lang="en-US" dirty="0"/>
              <a:t>- A set of columns which uniquely identify a row.  b - A set of logically related tables.</a:t>
            </a:r>
          </a:p>
          <a:p>
            <a:r>
              <a:rPr lang="en-US" dirty="0"/>
              <a:t>c - One or more columns that are a PK somewhere in the database.  d - The absence of a value.</a:t>
            </a:r>
          </a:p>
          <a:p>
            <a:r>
              <a:rPr lang="en-US" dirty="0"/>
              <a:t>e - A two-dimensional array of rows and columns.</a:t>
            </a:r>
          </a:p>
          <a:p>
            <a:r>
              <a:rPr lang="en-US" dirty="0"/>
              <a:t>f - A collection of permanently stored data.</a:t>
            </a:r>
          </a:p>
          <a:p>
            <a:endParaRPr lang="en-US"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Answers</a:t>
            </a:r>
          </a:p>
        </p:txBody>
      </p:sp>
      <p:sp>
        <p:nvSpPr>
          <p:cNvPr id="6" name="Content Placeholder 5"/>
          <p:cNvSpPr>
            <a:spLocks noGrp="1"/>
          </p:cNvSpPr>
          <p:nvPr>
            <p:ph idx="1"/>
          </p:nvPr>
        </p:nvSpPr>
        <p:spPr/>
        <p:txBody>
          <a:bodyPr/>
          <a:lstStyle/>
          <a:p>
            <a:r>
              <a:rPr lang="en-US" dirty="0"/>
              <a:t>Match each term with its definition below</a:t>
            </a:r>
            <a:r>
              <a:rPr lang="en-US" dirty="0" smtClean="0"/>
              <a:t>:</a:t>
            </a:r>
            <a:endParaRPr lang="en-US" dirty="0"/>
          </a:p>
          <a:p>
            <a:pPr lvl="1"/>
            <a:r>
              <a:rPr lang="en-US" dirty="0"/>
              <a:t>_f_ 1. Database</a:t>
            </a:r>
          </a:p>
          <a:p>
            <a:pPr lvl="1"/>
            <a:r>
              <a:rPr lang="en-US" dirty="0"/>
              <a:t>_e_ 2. Table</a:t>
            </a:r>
          </a:p>
          <a:p>
            <a:pPr lvl="1"/>
            <a:r>
              <a:rPr lang="en-US" dirty="0"/>
              <a:t>_b_ 3. Relational database</a:t>
            </a:r>
          </a:p>
          <a:p>
            <a:pPr lvl="1"/>
            <a:r>
              <a:rPr lang="en-US" dirty="0"/>
              <a:t>_a_ 4. Primary Key</a:t>
            </a:r>
          </a:p>
          <a:p>
            <a:pPr lvl="1"/>
            <a:r>
              <a:rPr lang="en-US" dirty="0"/>
              <a:t>_d_ 5. Null</a:t>
            </a:r>
          </a:p>
          <a:p>
            <a:pPr lvl="1"/>
            <a:r>
              <a:rPr lang="en-US" dirty="0" smtClean="0"/>
              <a:t>_c</a:t>
            </a:r>
            <a:r>
              <a:rPr lang="en-US" dirty="0"/>
              <a:t>_ 6. Foreign Key</a:t>
            </a:r>
          </a:p>
          <a:p>
            <a:endParaRPr lang="en-US" dirty="0"/>
          </a:p>
          <a:p>
            <a:pPr lvl="1"/>
            <a:r>
              <a:rPr lang="en-US" dirty="0"/>
              <a:t>a - A set of columns which uniquely identify a row</a:t>
            </a:r>
          </a:p>
          <a:p>
            <a:pPr lvl="1"/>
            <a:r>
              <a:rPr lang="en-US" dirty="0"/>
              <a:t>b - A set of logically related tables</a:t>
            </a:r>
          </a:p>
          <a:p>
            <a:pPr lvl="1"/>
            <a:r>
              <a:rPr lang="en-US" dirty="0"/>
              <a:t>c - One or more columns that are a PK somewhere in the database  d - The absence of a value</a:t>
            </a:r>
          </a:p>
          <a:p>
            <a:pPr lvl="1"/>
            <a:r>
              <a:rPr lang="en-US" dirty="0"/>
              <a:t>e - A two-dimensional array of rows and columns  f - A collection of permanently stored data</a:t>
            </a:r>
          </a:p>
          <a:p>
            <a:endParaRPr lang="en-US"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926" y="409956"/>
            <a:ext cx="9905999" cy="833627"/>
          </a:xfrm>
          <a:prstGeom prst="rect">
            <a:avLst/>
          </a:prstGeom>
          <a:blipFill>
            <a:blip r:embed="rId3" cstate="print"/>
            <a:stretch>
              <a:fillRect/>
            </a:stretch>
          </a:blipFill>
        </p:spPr>
        <p:txBody>
          <a:bodyPr wrap="square" lIns="0" tIns="0" rIns="0" bIns="0" rtlCol="0"/>
          <a:lstStyle/>
          <a:p>
            <a:endParaRPr/>
          </a:p>
        </p:txBody>
      </p:sp>
      <p:sp>
        <p:nvSpPr>
          <p:cNvPr id="3" name="object 3"/>
          <p:cNvSpPr/>
          <p:nvPr/>
        </p:nvSpPr>
        <p:spPr>
          <a:xfrm>
            <a:off x="45721" y="605028"/>
            <a:ext cx="106679" cy="106679"/>
          </a:xfrm>
          <a:prstGeom prst="rect">
            <a:avLst/>
          </a:prstGeom>
          <a:blipFill>
            <a:blip r:embed="rId4" cstate="print"/>
            <a:stretch>
              <a:fillRect/>
            </a:stretch>
          </a:blipFill>
        </p:spPr>
        <p:txBody>
          <a:bodyPr wrap="square" lIns="0" tIns="0" rIns="0" bIns="0" rtlCol="0"/>
          <a:lstStyle/>
          <a:p>
            <a:endParaRPr/>
          </a:p>
        </p:txBody>
      </p:sp>
      <p:sp>
        <p:nvSpPr>
          <p:cNvPr id="4" name="object 4"/>
          <p:cNvSpPr/>
          <p:nvPr/>
        </p:nvSpPr>
        <p:spPr>
          <a:xfrm>
            <a:off x="0" y="438151"/>
            <a:ext cx="9906000" cy="727075"/>
          </a:xfrm>
          <a:custGeom>
            <a:avLst/>
            <a:gdLst/>
            <a:ahLst/>
            <a:cxnLst/>
            <a:rect l="l" t="t" r="r" b="b"/>
            <a:pathLst>
              <a:path w="9906000" h="727075">
                <a:moveTo>
                  <a:pt x="0" y="329819"/>
                </a:moveTo>
                <a:lnTo>
                  <a:pt x="0" y="397255"/>
                </a:lnTo>
                <a:lnTo>
                  <a:pt x="234454" y="448790"/>
                </a:lnTo>
                <a:lnTo>
                  <a:pt x="381639" y="562165"/>
                </a:lnTo>
                <a:lnTo>
                  <a:pt x="457937" y="675540"/>
                </a:lnTo>
                <a:lnTo>
                  <a:pt x="479729" y="727075"/>
                </a:lnTo>
                <a:lnTo>
                  <a:pt x="501416" y="663194"/>
                </a:lnTo>
                <a:lnTo>
                  <a:pt x="479729" y="663194"/>
                </a:lnTo>
                <a:lnTo>
                  <a:pt x="415048" y="470461"/>
                </a:lnTo>
                <a:lnTo>
                  <a:pt x="343515" y="371490"/>
                </a:lnTo>
                <a:lnTo>
                  <a:pt x="220158" y="335027"/>
                </a:lnTo>
                <a:lnTo>
                  <a:pt x="0" y="329819"/>
                </a:lnTo>
                <a:close/>
              </a:path>
              <a:path w="9906000" h="727075">
                <a:moveTo>
                  <a:pt x="537167" y="557883"/>
                </a:moveTo>
                <a:lnTo>
                  <a:pt x="501571" y="611104"/>
                </a:lnTo>
                <a:lnTo>
                  <a:pt x="479729" y="663194"/>
                </a:lnTo>
                <a:lnTo>
                  <a:pt x="501416" y="663194"/>
                </a:lnTo>
                <a:lnTo>
                  <a:pt x="537167" y="557883"/>
                </a:lnTo>
                <a:close/>
              </a:path>
              <a:path w="9906000" h="727075">
                <a:moveTo>
                  <a:pt x="675359" y="421356"/>
                </a:moveTo>
                <a:lnTo>
                  <a:pt x="616342" y="438483"/>
                </a:lnTo>
                <a:lnTo>
                  <a:pt x="544461" y="536398"/>
                </a:lnTo>
                <a:lnTo>
                  <a:pt x="537167" y="557883"/>
                </a:lnTo>
                <a:lnTo>
                  <a:pt x="578218" y="496506"/>
                </a:lnTo>
                <a:lnTo>
                  <a:pt x="675359" y="421356"/>
                </a:lnTo>
                <a:close/>
              </a:path>
              <a:path w="9906000" h="727075">
                <a:moveTo>
                  <a:pt x="9710543" y="304809"/>
                </a:moveTo>
                <a:lnTo>
                  <a:pt x="9641949" y="324665"/>
                </a:lnTo>
                <a:lnTo>
                  <a:pt x="9419971" y="329819"/>
                </a:lnTo>
                <a:lnTo>
                  <a:pt x="962647" y="329819"/>
                </a:lnTo>
                <a:lnTo>
                  <a:pt x="726349" y="381908"/>
                </a:lnTo>
                <a:lnTo>
                  <a:pt x="675359" y="421356"/>
                </a:lnTo>
                <a:lnTo>
                  <a:pt x="740646" y="402409"/>
                </a:lnTo>
                <a:lnTo>
                  <a:pt x="962647" y="397255"/>
                </a:lnTo>
                <a:lnTo>
                  <a:pt x="9419971" y="397255"/>
                </a:lnTo>
                <a:lnTo>
                  <a:pt x="9656700" y="345721"/>
                </a:lnTo>
                <a:lnTo>
                  <a:pt x="9710543" y="304809"/>
                </a:lnTo>
                <a:close/>
              </a:path>
              <a:path w="9906000" h="727075">
                <a:moveTo>
                  <a:pt x="9844501" y="176066"/>
                </a:moveTo>
                <a:lnTo>
                  <a:pt x="9805908" y="232346"/>
                </a:lnTo>
                <a:lnTo>
                  <a:pt x="9710543" y="304809"/>
                </a:lnTo>
                <a:lnTo>
                  <a:pt x="9766569" y="288591"/>
                </a:lnTo>
                <a:lnTo>
                  <a:pt x="9839398" y="190676"/>
                </a:lnTo>
                <a:lnTo>
                  <a:pt x="9844501" y="176066"/>
                </a:lnTo>
                <a:close/>
              </a:path>
              <a:path w="9906000" h="727075">
                <a:moveTo>
                  <a:pt x="9906000" y="0"/>
                </a:moveTo>
                <a:lnTo>
                  <a:pt x="9844501" y="176066"/>
                </a:lnTo>
                <a:lnTo>
                  <a:pt x="9883653" y="118971"/>
                </a:lnTo>
                <a:lnTo>
                  <a:pt x="9906000" y="67437"/>
                </a:lnTo>
                <a:lnTo>
                  <a:pt x="9906000" y="0"/>
                </a:lnTo>
                <a:close/>
              </a:path>
            </a:pathLst>
          </a:custGeom>
          <a:solidFill>
            <a:srgbClr val="0097C6"/>
          </a:solidFill>
        </p:spPr>
        <p:txBody>
          <a:bodyPr wrap="square" lIns="0" tIns="0" rIns="0" bIns="0" rtlCol="0"/>
          <a:lstStyle/>
          <a:p>
            <a:endParaRPr/>
          </a:p>
        </p:txBody>
      </p:sp>
      <p:sp>
        <p:nvSpPr>
          <p:cNvPr id="5" name="object 5"/>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lstStyle/>
          <a:p>
            <a:endParaRPr/>
          </a:p>
        </p:txBody>
      </p:sp>
      <p:sp>
        <p:nvSpPr>
          <p:cNvPr id="6" name="object 6"/>
          <p:cNvSpPr/>
          <p:nvPr/>
        </p:nvSpPr>
        <p:spPr>
          <a:xfrm>
            <a:off x="349252" y="6456361"/>
            <a:ext cx="1362075" cy="315912"/>
          </a:xfrm>
          <a:prstGeom prst="rect">
            <a:avLst/>
          </a:prstGeom>
          <a:blipFill>
            <a:blip r:embed="rId5" cstate="print"/>
            <a:stretch>
              <a:fillRect/>
            </a:stretch>
          </a:blipFill>
        </p:spPr>
        <p:txBody>
          <a:bodyPr wrap="square" lIns="0" tIns="0" rIns="0" bIns="0" rtlCol="0"/>
          <a:lstStyle/>
          <a:p>
            <a:endParaRPr/>
          </a:p>
        </p:txBody>
      </p:sp>
      <p:sp>
        <p:nvSpPr>
          <p:cNvPr id="7" name="object 7"/>
          <p:cNvSpPr/>
          <p:nvPr/>
        </p:nvSpPr>
        <p:spPr>
          <a:xfrm>
            <a:off x="9445752" y="4098417"/>
            <a:ext cx="191135" cy="191135"/>
          </a:xfrm>
          <a:custGeom>
            <a:avLst/>
            <a:gdLst/>
            <a:ahLst/>
            <a:cxnLst/>
            <a:rect l="l" t="t" r="r" b="b"/>
            <a:pathLst>
              <a:path w="191134" h="191135">
                <a:moveTo>
                  <a:pt x="104140" y="0"/>
                </a:moveTo>
                <a:lnTo>
                  <a:pt x="52197" y="9270"/>
                </a:lnTo>
                <a:lnTo>
                  <a:pt x="23114" y="34924"/>
                </a:lnTo>
                <a:lnTo>
                  <a:pt x="0" y="85851"/>
                </a:lnTo>
                <a:lnTo>
                  <a:pt x="1650" y="102742"/>
                </a:lnTo>
                <a:lnTo>
                  <a:pt x="10541" y="140588"/>
                </a:lnTo>
                <a:lnTo>
                  <a:pt x="47751" y="177926"/>
                </a:lnTo>
                <a:lnTo>
                  <a:pt x="85851" y="189991"/>
                </a:lnTo>
                <a:lnTo>
                  <a:pt x="104140" y="191134"/>
                </a:lnTo>
                <a:lnTo>
                  <a:pt x="123698" y="188086"/>
                </a:lnTo>
                <a:lnTo>
                  <a:pt x="168275" y="157860"/>
                </a:lnTo>
                <a:lnTo>
                  <a:pt x="186054" y="123951"/>
                </a:lnTo>
                <a:lnTo>
                  <a:pt x="191134" y="85851"/>
                </a:lnTo>
                <a:lnTo>
                  <a:pt x="189483" y="69087"/>
                </a:lnTo>
                <a:lnTo>
                  <a:pt x="157861" y="21716"/>
                </a:lnTo>
                <a:lnTo>
                  <a:pt x="123825" y="3936"/>
                </a:lnTo>
                <a:lnTo>
                  <a:pt x="104140" y="0"/>
                </a:lnTo>
                <a:close/>
              </a:path>
            </a:pathLst>
          </a:custGeom>
          <a:solidFill>
            <a:srgbClr val="D9D9D9"/>
          </a:solidFill>
        </p:spPr>
        <p:txBody>
          <a:bodyPr wrap="square" lIns="0" tIns="0" rIns="0" bIns="0" rtlCol="0"/>
          <a:lstStyle/>
          <a:p>
            <a:endParaRPr/>
          </a:p>
        </p:txBody>
      </p:sp>
      <p:sp>
        <p:nvSpPr>
          <p:cNvPr id="8" name="object 8"/>
          <p:cNvSpPr/>
          <p:nvPr/>
        </p:nvSpPr>
        <p:spPr>
          <a:xfrm>
            <a:off x="9445752" y="4098417"/>
            <a:ext cx="191135" cy="191135"/>
          </a:xfrm>
          <a:custGeom>
            <a:avLst/>
            <a:gdLst/>
            <a:ahLst/>
            <a:cxnLst/>
            <a:rect l="l" t="t" r="r" b="b"/>
            <a:pathLst>
              <a:path w="191134" h="191135">
                <a:moveTo>
                  <a:pt x="104140" y="0"/>
                </a:moveTo>
                <a:lnTo>
                  <a:pt x="52197" y="9270"/>
                </a:lnTo>
                <a:lnTo>
                  <a:pt x="23114" y="34924"/>
                </a:lnTo>
                <a:lnTo>
                  <a:pt x="0" y="85851"/>
                </a:lnTo>
                <a:lnTo>
                  <a:pt x="1650" y="102742"/>
                </a:lnTo>
                <a:lnTo>
                  <a:pt x="10541" y="140588"/>
                </a:lnTo>
                <a:lnTo>
                  <a:pt x="47751" y="177926"/>
                </a:lnTo>
                <a:lnTo>
                  <a:pt x="85851" y="189991"/>
                </a:lnTo>
                <a:lnTo>
                  <a:pt x="104140" y="191134"/>
                </a:lnTo>
                <a:lnTo>
                  <a:pt x="123698" y="188086"/>
                </a:lnTo>
                <a:lnTo>
                  <a:pt x="168275" y="157860"/>
                </a:lnTo>
                <a:lnTo>
                  <a:pt x="186054" y="123951"/>
                </a:lnTo>
                <a:lnTo>
                  <a:pt x="191134" y="85851"/>
                </a:lnTo>
                <a:lnTo>
                  <a:pt x="189483" y="69087"/>
                </a:lnTo>
                <a:lnTo>
                  <a:pt x="157861" y="21716"/>
                </a:lnTo>
                <a:lnTo>
                  <a:pt x="123825" y="3936"/>
                </a:lnTo>
                <a:lnTo>
                  <a:pt x="104140" y="0"/>
                </a:lnTo>
                <a:close/>
              </a:path>
            </a:pathLst>
          </a:custGeom>
          <a:solidFill>
            <a:srgbClr val="D9D9D9"/>
          </a:solidFill>
        </p:spPr>
        <p:txBody>
          <a:bodyPr wrap="square" lIns="0" tIns="0" rIns="0" bIns="0" rtlCol="0"/>
          <a:lstStyle/>
          <a:p>
            <a:endParaRPr/>
          </a:p>
        </p:txBody>
      </p:sp>
      <p:sp>
        <p:nvSpPr>
          <p:cNvPr id="9" name="object 9"/>
          <p:cNvSpPr/>
          <p:nvPr/>
        </p:nvSpPr>
        <p:spPr>
          <a:xfrm>
            <a:off x="9290431" y="4424172"/>
            <a:ext cx="171450" cy="172085"/>
          </a:xfrm>
          <a:custGeom>
            <a:avLst/>
            <a:gdLst/>
            <a:ahLst/>
            <a:cxnLst/>
            <a:rect l="l" t="t" r="r" b="b"/>
            <a:pathLst>
              <a:path w="171450" h="172085">
                <a:moveTo>
                  <a:pt x="95630" y="0"/>
                </a:moveTo>
                <a:lnTo>
                  <a:pt x="31242" y="19176"/>
                </a:lnTo>
                <a:lnTo>
                  <a:pt x="3683" y="61848"/>
                </a:lnTo>
                <a:lnTo>
                  <a:pt x="0" y="95630"/>
                </a:lnTo>
                <a:lnTo>
                  <a:pt x="8890" y="126364"/>
                </a:lnTo>
                <a:lnTo>
                  <a:pt x="44576" y="161035"/>
                </a:lnTo>
                <a:lnTo>
                  <a:pt x="78486" y="171703"/>
                </a:lnTo>
                <a:lnTo>
                  <a:pt x="92455" y="171576"/>
                </a:lnTo>
                <a:lnTo>
                  <a:pt x="109347" y="169925"/>
                </a:lnTo>
                <a:lnTo>
                  <a:pt x="140080" y="153923"/>
                </a:lnTo>
                <a:lnTo>
                  <a:pt x="151129" y="141096"/>
                </a:lnTo>
                <a:lnTo>
                  <a:pt x="162178" y="128396"/>
                </a:lnTo>
                <a:lnTo>
                  <a:pt x="167513" y="111378"/>
                </a:lnTo>
                <a:lnTo>
                  <a:pt x="170052" y="95884"/>
                </a:lnTo>
                <a:lnTo>
                  <a:pt x="171196" y="77596"/>
                </a:lnTo>
                <a:lnTo>
                  <a:pt x="162305" y="46862"/>
                </a:lnTo>
                <a:lnTo>
                  <a:pt x="152273" y="34289"/>
                </a:lnTo>
                <a:lnTo>
                  <a:pt x="142240" y="21843"/>
                </a:lnTo>
                <a:lnTo>
                  <a:pt x="126619" y="12191"/>
                </a:lnTo>
                <a:lnTo>
                  <a:pt x="112522" y="5333"/>
                </a:lnTo>
                <a:lnTo>
                  <a:pt x="95630" y="0"/>
                </a:lnTo>
                <a:close/>
              </a:path>
            </a:pathLst>
          </a:custGeom>
          <a:solidFill>
            <a:srgbClr val="D9D9D9"/>
          </a:solidFill>
        </p:spPr>
        <p:txBody>
          <a:bodyPr wrap="square" lIns="0" tIns="0" rIns="0" bIns="0" rtlCol="0"/>
          <a:lstStyle/>
          <a:p>
            <a:endParaRPr/>
          </a:p>
        </p:txBody>
      </p:sp>
      <p:sp>
        <p:nvSpPr>
          <p:cNvPr id="10" name="object 10"/>
          <p:cNvSpPr/>
          <p:nvPr/>
        </p:nvSpPr>
        <p:spPr>
          <a:xfrm>
            <a:off x="9290431" y="4424172"/>
            <a:ext cx="171450" cy="172085"/>
          </a:xfrm>
          <a:custGeom>
            <a:avLst/>
            <a:gdLst/>
            <a:ahLst/>
            <a:cxnLst/>
            <a:rect l="l" t="t" r="r" b="b"/>
            <a:pathLst>
              <a:path w="171450" h="172085">
                <a:moveTo>
                  <a:pt x="95630" y="0"/>
                </a:moveTo>
                <a:lnTo>
                  <a:pt x="31242" y="19176"/>
                </a:lnTo>
                <a:lnTo>
                  <a:pt x="3683" y="61848"/>
                </a:lnTo>
                <a:lnTo>
                  <a:pt x="0" y="95630"/>
                </a:lnTo>
                <a:lnTo>
                  <a:pt x="8890" y="126364"/>
                </a:lnTo>
                <a:lnTo>
                  <a:pt x="44576" y="161035"/>
                </a:lnTo>
                <a:lnTo>
                  <a:pt x="78486" y="171703"/>
                </a:lnTo>
                <a:lnTo>
                  <a:pt x="92455" y="171576"/>
                </a:lnTo>
                <a:lnTo>
                  <a:pt x="109347" y="169925"/>
                </a:lnTo>
                <a:lnTo>
                  <a:pt x="140080" y="153923"/>
                </a:lnTo>
                <a:lnTo>
                  <a:pt x="151129" y="141096"/>
                </a:lnTo>
                <a:lnTo>
                  <a:pt x="162178" y="128396"/>
                </a:lnTo>
                <a:lnTo>
                  <a:pt x="167513" y="111378"/>
                </a:lnTo>
                <a:lnTo>
                  <a:pt x="170052" y="95884"/>
                </a:lnTo>
                <a:lnTo>
                  <a:pt x="171196" y="77596"/>
                </a:lnTo>
                <a:lnTo>
                  <a:pt x="162305" y="46862"/>
                </a:lnTo>
                <a:lnTo>
                  <a:pt x="152273" y="34289"/>
                </a:lnTo>
                <a:lnTo>
                  <a:pt x="142240" y="21843"/>
                </a:lnTo>
                <a:lnTo>
                  <a:pt x="126619" y="12191"/>
                </a:lnTo>
                <a:lnTo>
                  <a:pt x="112522" y="5333"/>
                </a:lnTo>
                <a:lnTo>
                  <a:pt x="95630" y="0"/>
                </a:lnTo>
                <a:close/>
              </a:path>
            </a:pathLst>
          </a:custGeom>
          <a:solidFill>
            <a:srgbClr val="D9D9D9"/>
          </a:solidFill>
        </p:spPr>
        <p:txBody>
          <a:bodyPr wrap="square" lIns="0" tIns="0" rIns="0" bIns="0" rtlCol="0"/>
          <a:lstStyle/>
          <a:p>
            <a:endParaRPr/>
          </a:p>
        </p:txBody>
      </p:sp>
      <p:sp>
        <p:nvSpPr>
          <p:cNvPr id="11" name="object 11"/>
          <p:cNvSpPr/>
          <p:nvPr/>
        </p:nvSpPr>
        <p:spPr>
          <a:xfrm>
            <a:off x="9082279" y="4715890"/>
            <a:ext cx="153670" cy="156210"/>
          </a:xfrm>
          <a:custGeom>
            <a:avLst/>
            <a:gdLst/>
            <a:ahLst/>
            <a:cxnLst/>
            <a:rect l="l" t="t" r="r" b="b"/>
            <a:pathLst>
              <a:path w="153670" h="156210">
                <a:moveTo>
                  <a:pt x="69088" y="0"/>
                </a:moveTo>
                <a:lnTo>
                  <a:pt x="53721" y="4444"/>
                </a:lnTo>
                <a:lnTo>
                  <a:pt x="28575" y="17398"/>
                </a:lnTo>
                <a:lnTo>
                  <a:pt x="16001" y="27431"/>
                </a:lnTo>
                <a:lnTo>
                  <a:pt x="9271" y="41655"/>
                </a:lnTo>
                <a:lnTo>
                  <a:pt x="2413" y="55752"/>
                </a:lnTo>
                <a:lnTo>
                  <a:pt x="18" y="70357"/>
                </a:lnTo>
                <a:lnTo>
                  <a:pt x="0" y="85343"/>
                </a:lnTo>
                <a:lnTo>
                  <a:pt x="253" y="99313"/>
                </a:lnTo>
                <a:lnTo>
                  <a:pt x="14731" y="127253"/>
                </a:lnTo>
                <a:lnTo>
                  <a:pt x="26162" y="135508"/>
                </a:lnTo>
                <a:lnTo>
                  <a:pt x="38862" y="146557"/>
                </a:lnTo>
                <a:lnTo>
                  <a:pt x="68579" y="155955"/>
                </a:lnTo>
                <a:lnTo>
                  <a:pt x="82676" y="155828"/>
                </a:lnTo>
                <a:lnTo>
                  <a:pt x="113411" y="146938"/>
                </a:lnTo>
                <a:lnTo>
                  <a:pt x="123190" y="138302"/>
                </a:lnTo>
                <a:lnTo>
                  <a:pt x="135636" y="128269"/>
                </a:lnTo>
                <a:lnTo>
                  <a:pt x="143891" y="116966"/>
                </a:lnTo>
                <a:lnTo>
                  <a:pt x="149225" y="99948"/>
                </a:lnTo>
                <a:lnTo>
                  <a:pt x="153289" y="87248"/>
                </a:lnTo>
                <a:lnTo>
                  <a:pt x="151638" y="70357"/>
                </a:lnTo>
                <a:lnTo>
                  <a:pt x="151383" y="56387"/>
                </a:lnTo>
                <a:lnTo>
                  <a:pt x="144145" y="42417"/>
                </a:lnTo>
                <a:lnTo>
                  <a:pt x="137032" y="28447"/>
                </a:lnTo>
                <a:lnTo>
                  <a:pt x="114173" y="11937"/>
                </a:lnTo>
                <a:lnTo>
                  <a:pt x="100075" y="5079"/>
                </a:lnTo>
                <a:lnTo>
                  <a:pt x="69088" y="0"/>
                </a:lnTo>
                <a:close/>
              </a:path>
            </a:pathLst>
          </a:custGeom>
          <a:solidFill>
            <a:srgbClr val="D9D9D9"/>
          </a:solidFill>
        </p:spPr>
        <p:txBody>
          <a:bodyPr wrap="square" lIns="0" tIns="0" rIns="0" bIns="0" rtlCol="0"/>
          <a:lstStyle/>
          <a:p>
            <a:endParaRPr/>
          </a:p>
        </p:txBody>
      </p:sp>
      <p:sp>
        <p:nvSpPr>
          <p:cNvPr id="12" name="object 12"/>
          <p:cNvSpPr/>
          <p:nvPr/>
        </p:nvSpPr>
        <p:spPr>
          <a:xfrm>
            <a:off x="9082279" y="4715890"/>
            <a:ext cx="153670" cy="156210"/>
          </a:xfrm>
          <a:custGeom>
            <a:avLst/>
            <a:gdLst/>
            <a:ahLst/>
            <a:cxnLst/>
            <a:rect l="l" t="t" r="r" b="b"/>
            <a:pathLst>
              <a:path w="153670" h="156210">
                <a:moveTo>
                  <a:pt x="69088" y="0"/>
                </a:moveTo>
                <a:lnTo>
                  <a:pt x="53721" y="4444"/>
                </a:lnTo>
                <a:lnTo>
                  <a:pt x="28575" y="17398"/>
                </a:lnTo>
                <a:lnTo>
                  <a:pt x="16001" y="27431"/>
                </a:lnTo>
                <a:lnTo>
                  <a:pt x="9271" y="41655"/>
                </a:lnTo>
                <a:lnTo>
                  <a:pt x="2413" y="55752"/>
                </a:lnTo>
                <a:lnTo>
                  <a:pt x="18" y="70357"/>
                </a:lnTo>
                <a:lnTo>
                  <a:pt x="0" y="85343"/>
                </a:lnTo>
                <a:lnTo>
                  <a:pt x="253" y="99313"/>
                </a:lnTo>
                <a:lnTo>
                  <a:pt x="14731" y="127253"/>
                </a:lnTo>
                <a:lnTo>
                  <a:pt x="26162" y="135508"/>
                </a:lnTo>
                <a:lnTo>
                  <a:pt x="38862" y="146557"/>
                </a:lnTo>
                <a:lnTo>
                  <a:pt x="68579" y="155955"/>
                </a:lnTo>
                <a:lnTo>
                  <a:pt x="82676" y="155828"/>
                </a:lnTo>
                <a:lnTo>
                  <a:pt x="113411" y="146938"/>
                </a:lnTo>
                <a:lnTo>
                  <a:pt x="123190" y="138302"/>
                </a:lnTo>
                <a:lnTo>
                  <a:pt x="135636" y="128269"/>
                </a:lnTo>
                <a:lnTo>
                  <a:pt x="143891" y="116966"/>
                </a:lnTo>
                <a:lnTo>
                  <a:pt x="149225" y="99948"/>
                </a:lnTo>
                <a:lnTo>
                  <a:pt x="153289" y="87248"/>
                </a:lnTo>
                <a:lnTo>
                  <a:pt x="151638" y="70357"/>
                </a:lnTo>
                <a:lnTo>
                  <a:pt x="151383" y="56387"/>
                </a:lnTo>
                <a:lnTo>
                  <a:pt x="144145" y="42417"/>
                </a:lnTo>
                <a:lnTo>
                  <a:pt x="137032" y="28447"/>
                </a:lnTo>
                <a:lnTo>
                  <a:pt x="114173" y="11937"/>
                </a:lnTo>
                <a:lnTo>
                  <a:pt x="100075" y="5079"/>
                </a:lnTo>
                <a:lnTo>
                  <a:pt x="69088" y="0"/>
                </a:lnTo>
                <a:close/>
              </a:path>
            </a:pathLst>
          </a:custGeom>
          <a:solidFill>
            <a:srgbClr val="D9D9D9"/>
          </a:solidFill>
        </p:spPr>
        <p:txBody>
          <a:bodyPr wrap="square" lIns="0" tIns="0" rIns="0" bIns="0" rtlCol="0"/>
          <a:lstStyle/>
          <a:p>
            <a:endParaRPr/>
          </a:p>
        </p:txBody>
      </p:sp>
      <p:sp>
        <p:nvSpPr>
          <p:cNvPr id="13" name="object 13"/>
          <p:cNvSpPr/>
          <p:nvPr/>
        </p:nvSpPr>
        <p:spPr>
          <a:xfrm>
            <a:off x="8824215" y="4965572"/>
            <a:ext cx="139699" cy="139700"/>
          </a:xfrm>
          <a:custGeom>
            <a:avLst/>
            <a:gdLst/>
            <a:ahLst/>
            <a:cxnLst/>
            <a:rect l="l" t="t" r="r" b="b"/>
            <a:pathLst>
              <a:path w="139700" h="139700">
                <a:moveTo>
                  <a:pt x="77850" y="0"/>
                </a:moveTo>
                <a:lnTo>
                  <a:pt x="38480" y="6222"/>
                </a:lnTo>
                <a:lnTo>
                  <a:pt x="10794" y="34670"/>
                </a:lnTo>
                <a:lnTo>
                  <a:pt x="0" y="61594"/>
                </a:lnTo>
                <a:lnTo>
                  <a:pt x="253" y="75564"/>
                </a:lnTo>
                <a:lnTo>
                  <a:pt x="16255" y="113283"/>
                </a:lnTo>
                <a:lnTo>
                  <a:pt x="48894" y="135381"/>
                </a:lnTo>
                <a:lnTo>
                  <a:pt x="75691" y="139191"/>
                </a:lnTo>
                <a:lnTo>
                  <a:pt x="88264" y="136144"/>
                </a:lnTo>
                <a:lnTo>
                  <a:pt x="123062" y="114553"/>
                </a:lnTo>
                <a:lnTo>
                  <a:pt x="135381" y="90424"/>
                </a:lnTo>
                <a:lnTo>
                  <a:pt x="139445" y="77724"/>
                </a:lnTo>
                <a:lnTo>
                  <a:pt x="139191" y="63753"/>
                </a:lnTo>
                <a:lnTo>
                  <a:pt x="136143" y="51053"/>
                </a:lnTo>
                <a:lnTo>
                  <a:pt x="133222" y="38481"/>
                </a:lnTo>
                <a:lnTo>
                  <a:pt x="123189" y="26034"/>
                </a:lnTo>
                <a:lnTo>
                  <a:pt x="114553" y="16256"/>
                </a:lnTo>
                <a:lnTo>
                  <a:pt x="103250" y="8000"/>
                </a:lnTo>
                <a:lnTo>
                  <a:pt x="90550" y="3937"/>
                </a:lnTo>
                <a:lnTo>
                  <a:pt x="77850" y="0"/>
                </a:lnTo>
                <a:close/>
              </a:path>
            </a:pathLst>
          </a:custGeom>
          <a:solidFill>
            <a:srgbClr val="D9D9D9"/>
          </a:solidFill>
        </p:spPr>
        <p:txBody>
          <a:bodyPr wrap="square" lIns="0" tIns="0" rIns="0" bIns="0" rtlCol="0"/>
          <a:lstStyle/>
          <a:p>
            <a:endParaRPr/>
          </a:p>
        </p:txBody>
      </p:sp>
      <p:sp>
        <p:nvSpPr>
          <p:cNvPr id="14" name="object 14"/>
          <p:cNvSpPr/>
          <p:nvPr/>
        </p:nvSpPr>
        <p:spPr>
          <a:xfrm>
            <a:off x="8824215" y="4965572"/>
            <a:ext cx="139699" cy="139700"/>
          </a:xfrm>
          <a:custGeom>
            <a:avLst/>
            <a:gdLst/>
            <a:ahLst/>
            <a:cxnLst/>
            <a:rect l="l" t="t" r="r" b="b"/>
            <a:pathLst>
              <a:path w="139700" h="139700">
                <a:moveTo>
                  <a:pt x="77850" y="0"/>
                </a:moveTo>
                <a:lnTo>
                  <a:pt x="38480" y="6222"/>
                </a:lnTo>
                <a:lnTo>
                  <a:pt x="10794" y="34670"/>
                </a:lnTo>
                <a:lnTo>
                  <a:pt x="0" y="61594"/>
                </a:lnTo>
                <a:lnTo>
                  <a:pt x="253" y="75564"/>
                </a:lnTo>
                <a:lnTo>
                  <a:pt x="16255" y="113283"/>
                </a:lnTo>
                <a:lnTo>
                  <a:pt x="48894" y="135381"/>
                </a:lnTo>
                <a:lnTo>
                  <a:pt x="75691" y="139191"/>
                </a:lnTo>
                <a:lnTo>
                  <a:pt x="88264" y="136144"/>
                </a:lnTo>
                <a:lnTo>
                  <a:pt x="123062" y="114553"/>
                </a:lnTo>
                <a:lnTo>
                  <a:pt x="135381" y="90424"/>
                </a:lnTo>
                <a:lnTo>
                  <a:pt x="139445" y="77724"/>
                </a:lnTo>
                <a:lnTo>
                  <a:pt x="139191" y="63753"/>
                </a:lnTo>
                <a:lnTo>
                  <a:pt x="136143" y="51053"/>
                </a:lnTo>
                <a:lnTo>
                  <a:pt x="133222" y="38481"/>
                </a:lnTo>
                <a:lnTo>
                  <a:pt x="123189" y="26034"/>
                </a:lnTo>
                <a:lnTo>
                  <a:pt x="114553" y="16256"/>
                </a:lnTo>
                <a:lnTo>
                  <a:pt x="103250" y="8000"/>
                </a:lnTo>
                <a:lnTo>
                  <a:pt x="90550" y="3937"/>
                </a:lnTo>
                <a:lnTo>
                  <a:pt x="77850" y="0"/>
                </a:lnTo>
                <a:close/>
              </a:path>
            </a:pathLst>
          </a:custGeom>
          <a:solidFill>
            <a:srgbClr val="D9D9D9"/>
          </a:solidFill>
        </p:spPr>
        <p:txBody>
          <a:bodyPr wrap="square" lIns="0" tIns="0" rIns="0" bIns="0" rtlCol="0"/>
          <a:lstStyle/>
          <a:p>
            <a:endParaRPr/>
          </a:p>
        </p:txBody>
      </p:sp>
      <p:sp>
        <p:nvSpPr>
          <p:cNvPr id="15" name="object 15"/>
          <p:cNvSpPr/>
          <p:nvPr/>
        </p:nvSpPr>
        <p:spPr>
          <a:xfrm>
            <a:off x="8530717" y="5164202"/>
            <a:ext cx="125095" cy="125095"/>
          </a:xfrm>
          <a:custGeom>
            <a:avLst/>
            <a:gdLst/>
            <a:ahLst/>
            <a:cxnLst/>
            <a:rect l="l" t="t" r="r" b="b"/>
            <a:pathLst>
              <a:path w="125095" h="125095">
                <a:moveTo>
                  <a:pt x="56514" y="0"/>
                </a:moveTo>
                <a:lnTo>
                  <a:pt x="14731" y="21717"/>
                </a:lnTo>
                <a:lnTo>
                  <a:pt x="1015" y="43053"/>
                </a:lnTo>
                <a:lnTo>
                  <a:pt x="1142" y="57023"/>
                </a:lnTo>
                <a:lnTo>
                  <a:pt x="0" y="68326"/>
                </a:lnTo>
                <a:lnTo>
                  <a:pt x="21589" y="110109"/>
                </a:lnTo>
                <a:lnTo>
                  <a:pt x="31623" y="115697"/>
                </a:lnTo>
                <a:lnTo>
                  <a:pt x="42925" y="123952"/>
                </a:lnTo>
                <a:lnTo>
                  <a:pt x="54228" y="125095"/>
                </a:lnTo>
                <a:lnTo>
                  <a:pt x="68199" y="124968"/>
                </a:lnTo>
                <a:lnTo>
                  <a:pt x="80899" y="121920"/>
                </a:lnTo>
                <a:lnTo>
                  <a:pt x="121030" y="83439"/>
                </a:lnTo>
                <a:lnTo>
                  <a:pt x="124840" y="56642"/>
                </a:lnTo>
                <a:lnTo>
                  <a:pt x="121919" y="44068"/>
                </a:lnTo>
                <a:lnTo>
                  <a:pt x="116077" y="32893"/>
                </a:lnTo>
                <a:lnTo>
                  <a:pt x="111759" y="24511"/>
                </a:lnTo>
                <a:lnTo>
                  <a:pt x="103124" y="14731"/>
                </a:lnTo>
                <a:lnTo>
                  <a:pt x="93217" y="9271"/>
                </a:lnTo>
                <a:lnTo>
                  <a:pt x="79121" y="2540"/>
                </a:lnTo>
                <a:lnTo>
                  <a:pt x="56514" y="0"/>
                </a:lnTo>
                <a:close/>
              </a:path>
            </a:pathLst>
          </a:custGeom>
          <a:solidFill>
            <a:srgbClr val="D9D9D9"/>
          </a:solidFill>
        </p:spPr>
        <p:txBody>
          <a:bodyPr wrap="square" lIns="0" tIns="0" rIns="0" bIns="0" rtlCol="0"/>
          <a:lstStyle/>
          <a:p>
            <a:endParaRPr/>
          </a:p>
        </p:txBody>
      </p:sp>
      <p:sp>
        <p:nvSpPr>
          <p:cNvPr id="16" name="object 16"/>
          <p:cNvSpPr/>
          <p:nvPr/>
        </p:nvSpPr>
        <p:spPr>
          <a:xfrm>
            <a:off x="8530717" y="5164202"/>
            <a:ext cx="125095" cy="125095"/>
          </a:xfrm>
          <a:custGeom>
            <a:avLst/>
            <a:gdLst/>
            <a:ahLst/>
            <a:cxnLst/>
            <a:rect l="l" t="t" r="r" b="b"/>
            <a:pathLst>
              <a:path w="125095" h="125095">
                <a:moveTo>
                  <a:pt x="56514" y="0"/>
                </a:moveTo>
                <a:lnTo>
                  <a:pt x="14731" y="21717"/>
                </a:lnTo>
                <a:lnTo>
                  <a:pt x="1015" y="43053"/>
                </a:lnTo>
                <a:lnTo>
                  <a:pt x="1142" y="57023"/>
                </a:lnTo>
                <a:lnTo>
                  <a:pt x="0" y="68326"/>
                </a:lnTo>
                <a:lnTo>
                  <a:pt x="21589" y="110109"/>
                </a:lnTo>
                <a:lnTo>
                  <a:pt x="31623" y="115697"/>
                </a:lnTo>
                <a:lnTo>
                  <a:pt x="42925" y="123952"/>
                </a:lnTo>
                <a:lnTo>
                  <a:pt x="54228" y="125095"/>
                </a:lnTo>
                <a:lnTo>
                  <a:pt x="68199" y="124968"/>
                </a:lnTo>
                <a:lnTo>
                  <a:pt x="80899" y="121920"/>
                </a:lnTo>
                <a:lnTo>
                  <a:pt x="121030" y="83439"/>
                </a:lnTo>
                <a:lnTo>
                  <a:pt x="124840" y="56642"/>
                </a:lnTo>
                <a:lnTo>
                  <a:pt x="121919" y="44068"/>
                </a:lnTo>
                <a:lnTo>
                  <a:pt x="116077" y="32893"/>
                </a:lnTo>
                <a:lnTo>
                  <a:pt x="111759" y="24511"/>
                </a:lnTo>
                <a:lnTo>
                  <a:pt x="103124" y="14731"/>
                </a:lnTo>
                <a:lnTo>
                  <a:pt x="93217" y="9271"/>
                </a:lnTo>
                <a:lnTo>
                  <a:pt x="79121" y="2540"/>
                </a:lnTo>
                <a:lnTo>
                  <a:pt x="56514" y="0"/>
                </a:lnTo>
                <a:close/>
              </a:path>
            </a:pathLst>
          </a:custGeom>
          <a:solidFill>
            <a:srgbClr val="D9D9D9"/>
          </a:solidFill>
        </p:spPr>
        <p:txBody>
          <a:bodyPr wrap="square" lIns="0" tIns="0" rIns="0" bIns="0" rtlCol="0"/>
          <a:lstStyle/>
          <a:p>
            <a:endParaRPr/>
          </a:p>
        </p:txBody>
      </p:sp>
      <p:sp>
        <p:nvSpPr>
          <p:cNvPr id="17" name="object 17"/>
          <p:cNvSpPr/>
          <p:nvPr/>
        </p:nvSpPr>
        <p:spPr>
          <a:xfrm>
            <a:off x="8206358" y="5306822"/>
            <a:ext cx="113031" cy="112395"/>
          </a:xfrm>
          <a:custGeom>
            <a:avLst/>
            <a:gdLst/>
            <a:ahLst/>
            <a:cxnLst/>
            <a:rect l="l" t="t" r="r" b="b"/>
            <a:pathLst>
              <a:path w="113029" h="112395">
                <a:moveTo>
                  <a:pt x="51308" y="0"/>
                </a:moveTo>
                <a:lnTo>
                  <a:pt x="41401" y="1523"/>
                </a:lnTo>
                <a:lnTo>
                  <a:pt x="30352" y="7365"/>
                </a:lnTo>
                <a:lnTo>
                  <a:pt x="21971" y="11683"/>
                </a:lnTo>
                <a:lnTo>
                  <a:pt x="12192" y="20319"/>
                </a:lnTo>
                <a:lnTo>
                  <a:pt x="1270" y="40131"/>
                </a:lnTo>
                <a:lnTo>
                  <a:pt x="0" y="51434"/>
                </a:lnTo>
                <a:lnTo>
                  <a:pt x="1524" y="61213"/>
                </a:lnTo>
                <a:lnTo>
                  <a:pt x="27559" y="104393"/>
                </a:lnTo>
                <a:lnTo>
                  <a:pt x="59944" y="112394"/>
                </a:lnTo>
                <a:lnTo>
                  <a:pt x="72644" y="109346"/>
                </a:lnTo>
                <a:lnTo>
                  <a:pt x="92075" y="99186"/>
                </a:lnTo>
                <a:lnTo>
                  <a:pt x="99060" y="92074"/>
                </a:lnTo>
                <a:lnTo>
                  <a:pt x="109982" y="72262"/>
                </a:lnTo>
                <a:lnTo>
                  <a:pt x="112522" y="49783"/>
                </a:lnTo>
                <a:lnTo>
                  <a:pt x="110871" y="39877"/>
                </a:lnTo>
                <a:lnTo>
                  <a:pt x="100838" y="20446"/>
                </a:lnTo>
                <a:lnTo>
                  <a:pt x="93599" y="13461"/>
                </a:lnTo>
                <a:lnTo>
                  <a:pt x="73787" y="2539"/>
                </a:lnTo>
                <a:lnTo>
                  <a:pt x="51308" y="0"/>
                </a:lnTo>
                <a:close/>
              </a:path>
            </a:pathLst>
          </a:custGeom>
          <a:solidFill>
            <a:srgbClr val="D9D9D9"/>
          </a:solidFill>
        </p:spPr>
        <p:txBody>
          <a:bodyPr wrap="square" lIns="0" tIns="0" rIns="0" bIns="0" rtlCol="0"/>
          <a:lstStyle/>
          <a:p>
            <a:endParaRPr/>
          </a:p>
        </p:txBody>
      </p:sp>
      <p:sp>
        <p:nvSpPr>
          <p:cNvPr id="18" name="object 18"/>
          <p:cNvSpPr/>
          <p:nvPr/>
        </p:nvSpPr>
        <p:spPr>
          <a:xfrm>
            <a:off x="8206358" y="5306822"/>
            <a:ext cx="113031" cy="112395"/>
          </a:xfrm>
          <a:custGeom>
            <a:avLst/>
            <a:gdLst/>
            <a:ahLst/>
            <a:cxnLst/>
            <a:rect l="l" t="t" r="r" b="b"/>
            <a:pathLst>
              <a:path w="113029" h="112395">
                <a:moveTo>
                  <a:pt x="51308" y="0"/>
                </a:moveTo>
                <a:lnTo>
                  <a:pt x="41401" y="1523"/>
                </a:lnTo>
                <a:lnTo>
                  <a:pt x="30352" y="7365"/>
                </a:lnTo>
                <a:lnTo>
                  <a:pt x="21971" y="11683"/>
                </a:lnTo>
                <a:lnTo>
                  <a:pt x="12192" y="20319"/>
                </a:lnTo>
                <a:lnTo>
                  <a:pt x="1270" y="40131"/>
                </a:lnTo>
                <a:lnTo>
                  <a:pt x="0" y="51434"/>
                </a:lnTo>
                <a:lnTo>
                  <a:pt x="1524" y="61213"/>
                </a:lnTo>
                <a:lnTo>
                  <a:pt x="27559" y="104393"/>
                </a:lnTo>
                <a:lnTo>
                  <a:pt x="59944" y="112394"/>
                </a:lnTo>
                <a:lnTo>
                  <a:pt x="72644" y="109346"/>
                </a:lnTo>
                <a:lnTo>
                  <a:pt x="92075" y="99186"/>
                </a:lnTo>
                <a:lnTo>
                  <a:pt x="99060" y="92074"/>
                </a:lnTo>
                <a:lnTo>
                  <a:pt x="109982" y="72262"/>
                </a:lnTo>
                <a:lnTo>
                  <a:pt x="112522" y="49783"/>
                </a:lnTo>
                <a:lnTo>
                  <a:pt x="110871" y="39877"/>
                </a:lnTo>
                <a:lnTo>
                  <a:pt x="100838" y="20446"/>
                </a:lnTo>
                <a:lnTo>
                  <a:pt x="93599" y="13461"/>
                </a:lnTo>
                <a:lnTo>
                  <a:pt x="73787" y="2539"/>
                </a:lnTo>
                <a:lnTo>
                  <a:pt x="51308" y="0"/>
                </a:lnTo>
                <a:close/>
              </a:path>
            </a:pathLst>
          </a:custGeom>
          <a:solidFill>
            <a:srgbClr val="D9D9D9"/>
          </a:solidFill>
        </p:spPr>
        <p:txBody>
          <a:bodyPr wrap="square" lIns="0" tIns="0" rIns="0" bIns="0" rtlCol="0"/>
          <a:lstStyle/>
          <a:p>
            <a:endParaRPr/>
          </a:p>
        </p:txBody>
      </p:sp>
      <p:sp>
        <p:nvSpPr>
          <p:cNvPr id="19" name="object 19"/>
          <p:cNvSpPr/>
          <p:nvPr/>
        </p:nvSpPr>
        <p:spPr>
          <a:xfrm>
            <a:off x="7861807" y="5389371"/>
            <a:ext cx="102870" cy="102870"/>
          </a:xfrm>
          <a:custGeom>
            <a:avLst/>
            <a:gdLst/>
            <a:ahLst/>
            <a:cxnLst/>
            <a:rect l="l" t="t" r="r" b="b"/>
            <a:pathLst>
              <a:path w="102870" h="102870">
                <a:moveTo>
                  <a:pt x="45593" y="0"/>
                </a:moveTo>
                <a:lnTo>
                  <a:pt x="6603" y="27304"/>
                </a:lnTo>
                <a:lnTo>
                  <a:pt x="3937" y="35813"/>
                </a:lnTo>
                <a:lnTo>
                  <a:pt x="1270" y="44195"/>
                </a:lnTo>
                <a:lnTo>
                  <a:pt x="10287" y="82041"/>
                </a:lnTo>
                <a:lnTo>
                  <a:pt x="35814" y="97154"/>
                </a:lnTo>
                <a:lnTo>
                  <a:pt x="45720" y="102615"/>
                </a:lnTo>
                <a:lnTo>
                  <a:pt x="65405" y="99567"/>
                </a:lnTo>
                <a:lnTo>
                  <a:pt x="73787" y="95122"/>
                </a:lnTo>
                <a:lnTo>
                  <a:pt x="82169" y="90804"/>
                </a:lnTo>
                <a:lnTo>
                  <a:pt x="89026" y="83692"/>
                </a:lnTo>
                <a:lnTo>
                  <a:pt x="96012" y="76580"/>
                </a:lnTo>
                <a:lnTo>
                  <a:pt x="99949" y="63880"/>
                </a:lnTo>
                <a:lnTo>
                  <a:pt x="102616" y="55371"/>
                </a:lnTo>
                <a:lnTo>
                  <a:pt x="99568" y="35686"/>
                </a:lnTo>
                <a:lnTo>
                  <a:pt x="95184" y="27304"/>
                </a:lnTo>
                <a:lnTo>
                  <a:pt x="90932" y="19049"/>
                </a:lnTo>
                <a:lnTo>
                  <a:pt x="83820" y="12064"/>
                </a:lnTo>
                <a:lnTo>
                  <a:pt x="76581" y="5206"/>
                </a:lnTo>
                <a:lnTo>
                  <a:pt x="68199" y="2412"/>
                </a:lnTo>
                <a:lnTo>
                  <a:pt x="56896" y="1269"/>
                </a:lnTo>
                <a:lnTo>
                  <a:pt x="45593" y="0"/>
                </a:lnTo>
                <a:close/>
              </a:path>
            </a:pathLst>
          </a:custGeom>
          <a:solidFill>
            <a:srgbClr val="D9D9D9"/>
          </a:solidFill>
        </p:spPr>
        <p:txBody>
          <a:bodyPr wrap="square" lIns="0" tIns="0" rIns="0" bIns="0" rtlCol="0"/>
          <a:lstStyle/>
          <a:p>
            <a:endParaRPr/>
          </a:p>
        </p:txBody>
      </p:sp>
      <p:sp>
        <p:nvSpPr>
          <p:cNvPr id="20" name="object 20"/>
          <p:cNvSpPr/>
          <p:nvPr/>
        </p:nvSpPr>
        <p:spPr>
          <a:xfrm>
            <a:off x="7861807" y="5389371"/>
            <a:ext cx="102870" cy="102870"/>
          </a:xfrm>
          <a:custGeom>
            <a:avLst/>
            <a:gdLst/>
            <a:ahLst/>
            <a:cxnLst/>
            <a:rect l="l" t="t" r="r" b="b"/>
            <a:pathLst>
              <a:path w="102870" h="102870">
                <a:moveTo>
                  <a:pt x="45593" y="0"/>
                </a:moveTo>
                <a:lnTo>
                  <a:pt x="6603" y="27304"/>
                </a:lnTo>
                <a:lnTo>
                  <a:pt x="3937" y="35813"/>
                </a:lnTo>
                <a:lnTo>
                  <a:pt x="1270" y="44195"/>
                </a:lnTo>
                <a:lnTo>
                  <a:pt x="10287" y="82041"/>
                </a:lnTo>
                <a:lnTo>
                  <a:pt x="35814" y="97154"/>
                </a:lnTo>
                <a:lnTo>
                  <a:pt x="45720" y="102615"/>
                </a:lnTo>
                <a:lnTo>
                  <a:pt x="65405" y="99567"/>
                </a:lnTo>
                <a:lnTo>
                  <a:pt x="73787" y="95122"/>
                </a:lnTo>
                <a:lnTo>
                  <a:pt x="82169" y="90804"/>
                </a:lnTo>
                <a:lnTo>
                  <a:pt x="89026" y="83692"/>
                </a:lnTo>
                <a:lnTo>
                  <a:pt x="96012" y="76580"/>
                </a:lnTo>
                <a:lnTo>
                  <a:pt x="99949" y="63880"/>
                </a:lnTo>
                <a:lnTo>
                  <a:pt x="102616" y="55371"/>
                </a:lnTo>
                <a:lnTo>
                  <a:pt x="99568" y="35686"/>
                </a:lnTo>
                <a:lnTo>
                  <a:pt x="95184" y="27304"/>
                </a:lnTo>
                <a:lnTo>
                  <a:pt x="90932" y="19049"/>
                </a:lnTo>
                <a:lnTo>
                  <a:pt x="83820" y="12064"/>
                </a:lnTo>
                <a:lnTo>
                  <a:pt x="76581" y="5206"/>
                </a:lnTo>
                <a:lnTo>
                  <a:pt x="68199" y="2412"/>
                </a:lnTo>
                <a:lnTo>
                  <a:pt x="56896" y="1269"/>
                </a:lnTo>
                <a:lnTo>
                  <a:pt x="45593" y="0"/>
                </a:lnTo>
                <a:close/>
              </a:path>
            </a:pathLst>
          </a:custGeom>
          <a:solidFill>
            <a:srgbClr val="D9D9D9"/>
          </a:solidFill>
        </p:spPr>
        <p:txBody>
          <a:bodyPr wrap="square" lIns="0" tIns="0" rIns="0" bIns="0" rtlCol="0"/>
          <a:lstStyle/>
          <a:p>
            <a:endParaRPr/>
          </a:p>
        </p:txBody>
      </p:sp>
      <p:sp>
        <p:nvSpPr>
          <p:cNvPr id="21" name="object 21"/>
          <p:cNvSpPr/>
          <p:nvPr/>
        </p:nvSpPr>
        <p:spPr>
          <a:xfrm>
            <a:off x="7512051" y="5410073"/>
            <a:ext cx="90169" cy="88900"/>
          </a:xfrm>
          <a:custGeom>
            <a:avLst/>
            <a:gdLst/>
            <a:ahLst/>
            <a:cxnLst/>
            <a:rect l="l" t="t" r="r" b="b"/>
            <a:pathLst>
              <a:path w="90170" h="88900">
                <a:moveTo>
                  <a:pt x="41401" y="0"/>
                </a:moveTo>
                <a:lnTo>
                  <a:pt x="23241" y="5841"/>
                </a:lnTo>
                <a:lnTo>
                  <a:pt x="10795" y="15874"/>
                </a:lnTo>
                <a:lnTo>
                  <a:pt x="1143" y="31495"/>
                </a:lnTo>
                <a:lnTo>
                  <a:pt x="0" y="49783"/>
                </a:lnTo>
                <a:lnTo>
                  <a:pt x="4445" y="65277"/>
                </a:lnTo>
                <a:lnTo>
                  <a:pt x="14477" y="77723"/>
                </a:lnTo>
                <a:lnTo>
                  <a:pt x="30099" y="87375"/>
                </a:lnTo>
                <a:lnTo>
                  <a:pt x="48386" y="88518"/>
                </a:lnTo>
                <a:lnTo>
                  <a:pt x="65277" y="86867"/>
                </a:lnTo>
                <a:lnTo>
                  <a:pt x="79121" y="72516"/>
                </a:lnTo>
                <a:lnTo>
                  <a:pt x="85851" y="58419"/>
                </a:lnTo>
                <a:lnTo>
                  <a:pt x="89789" y="38607"/>
                </a:lnTo>
                <a:lnTo>
                  <a:pt x="85344" y="23240"/>
                </a:lnTo>
                <a:lnTo>
                  <a:pt x="75310" y="10794"/>
                </a:lnTo>
                <a:lnTo>
                  <a:pt x="56896" y="2539"/>
                </a:lnTo>
                <a:lnTo>
                  <a:pt x="41401" y="0"/>
                </a:lnTo>
                <a:close/>
              </a:path>
            </a:pathLst>
          </a:custGeom>
          <a:solidFill>
            <a:srgbClr val="D9D9D9"/>
          </a:solidFill>
        </p:spPr>
        <p:txBody>
          <a:bodyPr wrap="square" lIns="0" tIns="0" rIns="0" bIns="0" rtlCol="0"/>
          <a:lstStyle/>
          <a:p>
            <a:endParaRPr/>
          </a:p>
        </p:txBody>
      </p:sp>
      <p:sp>
        <p:nvSpPr>
          <p:cNvPr id="22" name="object 22"/>
          <p:cNvSpPr/>
          <p:nvPr/>
        </p:nvSpPr>
        <p:spPr>
          <a:xfrm>
            <a:off x="7512051" y="5410073"/>
            <a:ext cx="90169" cy="88900"/>
          </a:xfrm>
          <a:custGeom>
            <a:avLst/>
            <a:gdLst/>
            <a:ahLst/>
            <a:cxnLst/>
            <a:rect l="l" t="t" r="r" b="b"/>
            <a:pathLst>
              <a:path w="90170" h="88900">
                <a:moveTo>
                  <a:pt x="41401" y="0"/>
                </a:moveTo>
                <a:lnTo>
                  <a:pt x="23241" y="5841"/>
                </a:lnTo>
                <a:lnTo>
                  <a:pt x="10795" y="15874"/>
                </a:lnTo>
                <a:lnTo>
                  <a:pt x="1143" y="31495"/>
                </a:lnTo>
                <a:lnTo>
                  <a:pt x="0" y="49783"/>
                </a:lnTo>
                <a:lnTo>
                  <a:pt x="4445" y="65277"/>
                </a:lnTo>
                <a:lnTo>
                  <a:pt x="14477" y="77723"/>
                </a:lnTo>
                <a:lnTo>
                  <a:pt x="30099" y="87375"/>
                </a:lnTo>
                <a:lnTo>
                  <a:pt x="48386" y="88518"/>
                </a:lnTo>
                <a:lnTo>
                  <a:pt x="65277" y="86867"/>
                </a:lnTo>
                <a:lnTo>
                  <a:pt x="79121" y="72516"/>
                </a:lnTo>
                <a:lnTo>
                  <a:pt x="85851" y="58419"/>
                </a:lnTo>
                <a:lnTo>
                  <a:pt x="89789" y="38607"/>
                </a:lnTo>
                <a:lnTo>
                  <a:pt x="85344" y="23240"/>
                </a:lnTo>
                <a:lnTo>
                  <a:pt x="75310" y="10794"/>
                </a:lnTo>
                <a:lnTo>
                  <a:pt x="56896" y="2539"/>
                </a:lnTo>
                <a:lnTo>
                  <a:pt x="41401" y="0"/>
                </a:lnTo>
                <a:close/>
              </a:path>
            </a:pathLst>
          </a:custGeom>
          <a:solidFill>
            <a:srgbClr val="D9D9D9"/>
          </a:solidFill>
        </p:spPr>
        <p:txBody>
          <a:bodyPr wrap="square" lIns="0" tIns="0" rIns="0" bIns="0" rtlCol="0"/>
          <a:lstStyle/>
          <a:p>
            <a:endParaRPr/>
          </a:p>
        </p:txBody>
      </p:sp>
      <p:sp>
        <p:nvSpPr>
          <p:cNvPr id="23" name="object 23"/>
          <p:cNvSpPr/>
          <p:nvPr/>
        </p:nvSpPr>
        <p:spPr>
          <a:xfrm>
            <a:off x="7161277" y="5367529"/>
            <a:ext cx="81914" cy="81915"/>
          </a:xfrm>
          <a:custGeom>
            <a:avLst/>
            <a:gdLst/>
            <a:ahLst/>
            <a:cxnLst/>
            <a:rect l="l" t="t" r="r" b="b"/>
            <a:pathLst>
              <a:path w="81915" h="81914">
                <a:moveTo>
                  <a:pt x="37338" y="0"/>
                </a:moveTo>
                <a:lnTo>
                  <a:pt x="21971" y="4445"/>
                </a:lnTo>
                <a:lnTo>
                  <a:pt x="9398" y="14478"/>
                </a:lnTo>
                <a:lnTo>
                  <a:pt x="2667" y="28702"/>
                </a:lnTo>
                <a:lnTo>
                  <a:pt x="0" y="44196"/>
                </a:lnTo>
                <a:lnTo>
                  <a:pt x="4445" y="59563"/>
                </a:lnTo>
                <a:lnTo>
                  <a:pt x="14477" y="72009"/>
                </a:lnTo>
                <a:lnTo>
                  <a:pt x="28701" y="78867"/>
                </a:lnTo>
                <a:lnTo>
                  <a:pt x="44196" y="81407"/>
                </a:lnTo>
                <a:lnTo>
                  <a:pt x="59563" y="76962"/>
                </a:lnTo>
                <a:lnTo>
                  <a:pt x="72008" y="66929"/>
                </a:lnTo>
                <a:lnTo>
                  <a:pt x="78867" y="52832"/>
                </a:lnTo>
                <a:lnTo>
                  <a:pt x="81533" y="37338"/>
                </a:lnTo>
                <a:lnTo>
                  <a:pt x="77089" y="21971"/>
                </a:lnTo>
                <a:lnTo>
                  <a:pt x="67055" y="9398"/>
                </a:lnTo>
                <a:lnTo>
                  <a:pt x="52831" y="2667"/>
                </a:lnTo>
                <a:lnTo>
                  <a:pt x="37338" y="0"/>
                </a:lnTo>
                <a:close/>
              </a:path>
            </a:pathLst>
          </a:custGeom>
          <a:solidFill>
            <a:srgbClr val="D9D9D9"/>
          </a:solidFill>
        </p:spPr>
        <p:txBody>
          <a:bodyPr wrap="square" lIns="0" tIns="0" rIns="0" bIns="0" rtlCol="0"/>
          <a:lstStyle/>
          <a:p>
            <a:endParaRPr/>
          </a:p>
        </p:txBody>
      </p:sp>
      <p:sp>
        <p:nvSpPr>
          <p:cNvPr id="24" name="object 24"/>
          <p:cNvSpPr/>
          <p:nvPr/>
        </p:nvSpPr>
        <p:spPr>
          <a:xfrm>
            <a:off x="7161277" y="5367529"/>
            <a:ext cx="81914" cy="81915"/>
          </a:xfrm>
          <a:custGeom>
            <a:avLst/>
            <a:gdLst/>
            <a:ahLst/>
            <a:cxnLst/>
            <a:rect l="l" t="t" r="r" b="b"/>
            <a:pathLst>
              <a:path w="81915" h="81914">
                <a:moveTo>
                  <a:pt x="37338" y="0"/>
                </a:moveTo>
                <a:lnTo>
                  <a:pt x="21971" y="4445"/>
                </a:lnTo>
                <a:lnTo>
                  <a:pt x="9398" y="14478"/>
                </a:lnTo>
                <a:lnTo>
                  <a:pt x="2667" y="28702"/>
                </a:lnTo>
                <a:lnTo>
                  <a:pt x="0" y="44196"/>
                </a:lnTo>
                <a:lnTo>
                  <a:pt x="4445" y="59563"/>
                </a:lnTo>
                <a:lnTo>
                  <a:pt x="14477" y="72009"/>
                </a:lnTo>
                <a:lnTo>
                  <a:pt x="28701" y="78867"/>
                </a:lnTo>
                <a:lnTo>
                  <a:pt x="44196" y="81407"/>
                </a:lnTo>
                <a:lnTo>
                  <a:pt x="59563" y="76962"/>
                </a:lnTo>
                <a:lnTo>
                  <a:pt x="72008" y="66929"/>
                </a:lnTo>
                <a:lnTo>
                  <a:pt x="78867" y="52832"/>
                </a:lnTo>
                <a:lnTo>
                  <a:pt x="81533" y="37338"/>
                </a:lnTo>
                <a:lnTo>
                  <a:pt x="77089" y="21971"/>
                </a:lnTo>
                <a:lnTo>
                  <a:pt x="67055" y="9398"/>
                </a:lnTo>
                <a:lnTo>
                  <a:pt x="52831" y="2667"/>
                </a:lnTo>
                <a:lnTo>
                  <a:pt x="37338" y="0"/>
                </a:lnTo>
                <a:close/>
              </a:path>
            </a:pathLst>
          </a:custGeom>
          <a:solidFill>
            <a:srgbClr val="D9D9D9"/>
          </a:solidFill>
        </p:spPr>
        <p:txBody>
          <a:bodyPr wrap="square" lIns="0" tIns="0" rIns="0" bIns="0" rtlCol="0"/>
          <a:lstStyle/>
          <a:p>
            <a:endParaRPr/>
          </a:p>
        </p:txBody>
      </p:sp>
      <p:sp>
        <p:nvSpPr>
          <p:cNvPr id="25" name="object 25"/>
          <p:cNvSpPr/>
          <p:nvPr/>
        </p:nvSpPr>
        <p:spPr>
          <a:xfrm>
            <a:off x="6824980" y="5261609"/>
            <a:ext cx="72390" cy="74930"/>
          </a:xfrm>
          <a:custGeom>
            <a:avLst/>
            <a:gdLst/>
            <a:ahLst/>
            <a:cxnLst/>
            <a:rect l="l" t="t" r="r" b="b"/>
            <a:pathLst>
              <a:path w="72390" h="74929">
                <a:moveTo>
                  <a:pt x="31876" y="0"/>
                </a:moveTo>
                <a:lnTo>
                  <a:pt x="6730" y="12953"/>
                </a:lnTo>
                <a:lnTo>
                  <a:pt x="0" y="27177"/>
                </a:lnTo>
                <a:lnTo>
                  <a:pt x="126" y="41147"/>
                </a:lnTo>
                <a:lnTo>
                  <a:pt x="3175" y="53847"/>
                </a:lnTo>
                <a:lnTo>
                  <a:pt x="13208" y="66293"/>
                </a:lnTo>
                <a:lnTo>
                  <a:pt x="24511" y="74548"/>
                </a:lnTo>
                <a:lnTo>
                  <a:pt x="38608" y="74421"/>
                </a:lnTo>
                <a:lnTo>
                  <a:pt x="53975" y="69976"/>
                </a:lnTo>
                <a:lnTo>
                  <a:pt x="63753" y="61340"/>
                </a:lnTo>
                <a:lnTo>
                  <a:pt x="72009" y="50037"/>
                </a:lnTo>
                <a:lnTo>
                  <a:pt x="71754" y="35940"/>
                </a:lnTo>
                <a:lnTo>
                  <a:pt x="67310" y="20573"/>
                </a:lnTo>
                <a:lnTo>
                  <a:pt x="58800" y="10794"/>
                </a:lnTo>
                <a:lnTo>
                  <a:pt x="47371" y="2539"/>
                </a:lnTo>
                <a:lnTo>
                  <a:pt x="31876" y="0"/>
                </a:lnTo>
                <a:close/>
              </a:path>
            </a:pathLst>
          </a:custGeom>
          <a:solidFill>
            <a:srgbClr val="D9D9D9"/>
          </a:solidFill>
        </p:spPr>
        <p:txBody>
          <a:bodyPr wrap="square" lIns="0" tIns="0" rIns="0" bIns="0" rtlCol="0"/>
          <a:lstStyle/>
          <a:p>
            <a:endParaRPr/>
          </a:p>
        </p:txBody>
      </p:sp>
      <p:sp>
        <p:nvSpPr>
          <p:cNvPr id="26" name="object 26"/>
          <p:cNvSpPr/>
          <p:nvPr/>
        </p:nvSpPr>
        <p:spPr>
          <a:xfrm>
            <a:off x="6824980" y="5261609"/>
            <a:ext cx="72390" cy="74930"/>
          </a:xfrm>
          <a:custGeom>
            <a:avLst/>
            <a:gdLst/>
            <a:ahLst/>
            <a:cxnLst/>
            <a:rect l="l" t="t" r="r" b="b"/>
            <a:pathLst>
              <a:path w="72390" h="74929">
                <a:moveTo>
                  <a:pt x="31876" y="0"/>
                </a:moveTo>
                <a:lnTo>
                  <a:pt x="6730" y="12953"/>
                </a:lnTo>
                <a:lnTo>
                  <a:pt x="0" y="27177"/>
                </a:lnTo>
                <a:lnTo>
                  <a:pt x="126" y="41147"/>
                </a:lnTo>
                <a:lnTo>
                  <a:pt x="3175" y="53847"/>
                </a:lnTo>
                <a:lnTo>
                  <a:pt x="13208" y="66293"/>
                </a:lnTo>
                <a:lnTo>
                  <a:pt x="24511" y="74548"/>
                </a:lnTo>
                <a:lnTo>
                  <a:pt x="38608" y="74421"/>
                </a:lnTo>
                <a:lnTo>
                  <a:pt x="53975" y="69976"/>
                </a:lnTo>
                <a:lnTo>
                  <a:pt x="63753" y="61340"/>
                </a:lnTo>
                <a:lnTo>
                  <a:pt x="72009" y="50037"/>
                </a:lnTo>
                <a:lnTo>
                  <a:pt x="71754" y="35940"/>
                </a:lnTo>
                <a:lnTo>
                  <a:pt x="67310" y="20573"/>
                </a:lnTo>
                <a:lnTo>
                  <a:pt x="58800" y="10794"/>
                </a:lnTo>
                <a:lnTo>
                  <a:pt x="47371" y="2539"/>
                </a:lnTo>
                <a:lnTo>
                  <a:pt x="31876" y="0"/>
                </a:lnTo>
                <a:close/>
              </a:path>
            </a:pathLst>
          </a:custGeom>
          <a:solidFill>
            <a:srgbClr val="D9D9D9"/>
          </a:solidFill>
        </p:spPr>
        <p:txBody>
          <a:bodyPr wrap="square" lIns="0" tIns="0" rIns="0" bIns="0" rtlCol="0"/>
          <a:lstStyle/>
          <a:p>
            <a:endParaRPr/>
          </a:p>
        </p:txBody>
      </p:sp>
      <p:sp>
        <p:nvSpPr>
          <p:cNvPr id="27" name="object 27"/>
          <p:cNvSpPr/>
          <p:nvPr/>
        </p:nvSpPr>
        <p:spPr>
          <a:xfrm>
            <a:off x="9554718" y="3756914"/>
            <a:ext cx="191770" cy="191135"/>
          </a:xfrm>
          <a:custGeom>
            <a:avLst/>
            <a:gdLst/>
            <a:ahLst/>
            <a:cxnLst/>
            <a:rect l="l" t="t" r="r" b="b"/>
            <a:pathLst>
              <a:path w="191770" h="191135">
                <a:moveTo>
                  <a:pt x="87122" y="0"/>
                </a:moveTo>
                <a:lnTo>
                  <a:pt x="50673" y="11684"/>
                </a:lnTo>
                <a:lnTo>
                  <a:pt x="13334" y="48894"/>
                </a:lnTo>
                <a:lnTo>
                  <a:pt x="1142" y="86994"/>
                </a:lnTo>
                <a:lnTo>
                  <a:pt x="0" y="105283"/>
                </a:lnTo>
                <a:lnTo>
                  <a:pt x="3175" y="124968"/>
                </a:lnTo>
                <a:lnTo>
                  <a:pt x="10413" y="138811"/>
                </a:lnTo>
                <a:lnTo>
                  <a:pt x="19050" y="155575"/>
                </a:lnTo>
                <a:lnTo>
                  <a:pt x="33400" y="169418"/>
                </a:lnTo>
                <a:lnTo>
                  <a:pt x="48895" y="179069"/>
                </a:lnTo>
                <a:lnTo>
                  <a:pt x="67309" y="187198"/>
                </a:lnTo>
                <a:lnTo>
                  <a:pt x="87122" y="191135"/>
                </a:lnTo>
                <a:lnTo>
                  <a:pt x="120776" y="187833"/>
                </a:lnTo>
                <a:lnTo>
                  <a:pt x="168148" y="156210"/>
                </a:lnTo>
                <a:lnTo>
                  <a:pt x="191261" y="105283"/>
                </a:lnTo>
                <a:lnTo>
                  <a:pt x="189610" y="88392"/>
                </a:lnTo>
                <a:lnTo>
                  <a:pt x="180593" y="50546"/>
                </a:lnTo>
                <a:lnTo>
                  <a:pt x="143509" y="13208"/>
                </a:lnTo>
                <a:lnTo>
                  <a:pt x="105409" y="1143"/>
                </a:lnTo>
                <a:lnTo>
                  <a:pt x="87122" y="0"/>
                </a:lnTo>
                <a:close/>
              </a:path>
            </a:pathLst>
          </a:custGeom>
          <a:solidFill>
            <a:srgbClr val="D9D9D9"/>
          </a:solidFill>
        </p:spPr>
        <p:txBody>
          <a:bodyPr wrap="square" lIns="0" tIns="0" rIns="0" bIns="0" rtlCol="0"/>
          <a:lstStyle/>
          <a:p>
            <a:endParaRPr/>
          </a:p>
        </p:txBody>
      </p:sp>
      <p:sp>
        <p:nvSpPr>
          <p:cNvPr id="28" name="object 28"/>
          <p:cNvSpPr/>
          <p:nvPr/>
        </p:nvSpPr>
        <p:spPr>
          <a:xfrm>
            <a:off x="9554718" y="3756914"/>
            <a:ext cx="191770" cy="191135"/>
          </a:xfrm>
          <a:custGeom>
            <a:avLst/>
            <a:gdLst/>
            <a:ahLst/>
            <a:cxnLst/>
            <a:rect l="l" t="t" r="r" b="b"/>
            <a:pathLst>
              <a:path w="191770" h="191135">
                <a:moveTo>
                  <a:pt x="87122" y="0"/>
                </a:moveTo>
                <a:lnTo>
                  <a:pt x="50673" y="11684"/>
                </a:lnTo>
                <a:lnTo>
                  <a:pt x="13334" y="48894"/>
                </a:lnTo>
                <a:lnTo>
                  <a:pt x="1142" y="86994"/>
                </a:lnTo>
                <a:lnTo>
                  <a:pt x="0" y="105283"/>
                </a:lnTo>
                <a:lnTo>
                  <a:pt x="3175" y="124968"/>
                </a:lnTo>
                <a:lnTo>
                  <a:pt x="10413" y="138811"/>
                </a:lnTo>
                <a:lnTo>
                  <a:pt x="19050" y="155575"/>
                </a:lnTo>
                <a:lnTo>
                  <a:pt x="33400" y="169418"/>
                </a:lnTo>
                <a:lnTo>
                  <a:pt x="48895" y="179069"/>
                </a:lnTo>
                <a:lnTo>
                  <a:pt x="67309" y="187198"/>
                </a:lnTo>
                <a:lnTo>
                  <a:pt x="87122" y="191135"/>
                </a:lnTo>
                <a:lnTo>
                  <a:pt x="120776" y="187833"/>
                </a:lnTo>
                <a:lnTo>
                  <a:pt x="168148" y="156210"/>
                </a:lnTo>
                <a:lnTo>
                  <a:pt x="191261" y="105283"/>
                </a:lnTo>
                <a:lnTo>
                  <a:pt x="189610" y="88392"/>
                </a:lnTo>
                <a:lnTo>
                  <a:pt x="180593" y="50546"/>
                </a:lnTo>
                <a:lnTo>
                  <a:pt x="143509" y="13208"/>
                </a:lnTo>
                <a:lnTo>
                  <a:pt x="105409" y="1143"/>
                </a:lnTo>
                <a:lnTo>
                  <a:pt x="87122" y="0"/>
                </a:lnTo>
                <a:close/>
              </a:path>
            </a:pathLst>
          </a:custGeom>
          <a:solidFill>
            <a:srgbClr val="D9D9D9"/>
          </a:solidFill>
        </p:spPr>
        <p:txBody>
          <a:bodyPr wrap="square" lIns="0" tIns="0" rIns="0" bIns="0" rtlCol="0"/>
          <a:lstStyle/>
          <a:p>
            <a:endParaRPr/>
          </a:p>
        </p:txBody>
      </p:sp>
      <p:sp>
        <p:nvSpPr>
          <p:cNvPr id="29" name="object 29"/>
          <p:cNvSpPr/>
          <p:nvPr/>
        </p:nvSpPr>
        <p:spPr>
          <a:xfrm>
            <a:off x="9611359" y="3412997"/>
            <a:ext cx="171450" cy="173355"/>
          </a:xfrm>
          <a:custGeom>
            <a:avLst/>
            <a:gdLst/>
            <a:ahLst/>
            <a:cxnLst/>
            <a:rect l="l" t="t" r="r" b="b"/>
            <a:pathLst>
              <a:path w="171450" h="173354">
                <a:moveTo>
                  <a:pt x="92837" y="0"/>
                </a:moveTo>
                <a:lnTo>
                  <a:pt x="78740" y="126"/>
                </a:lnTo>
                <a:lnTo>
                  <a:pt x="61849" y="1777"/>
                </a:lnTo>
                <a:lnTo>
                  <a:pt x="31242" y="17779"/>
                </a:lnTo>
                <a:lnTo>
                  <a:pt x="20193" y="30606"/>
                </a:lnTo>
                <a:lnTo>
                  <a:pt x="9144" y="43306"/>
                </a:lnTo>
                <a:lnTo>
                  <a:pt x="3683" y="60325"/>
                </a:lnTo>
                <a:lnTo>
                  <a:pt x="1143" y="75818"/>
                </a:lnTo>
                <a:lnTo>
                  <a:pt x="0" y="94106"/>
                </a:lnTo>
                <a:lnTo>
                  <a:pt x="8890" y="124840"/>
                </a:lnTo>
                <a:lnTo>
                  <a:pt x="60198" y="169163"/>
                </a:lnTo>
                <a:lnTo>
                  <a:pt x="93980" y="172847"/>
                </a:lnTo>
                <a:lnTo>
                  <a:pt x="124714" y="163956"/>
                </a:lnTo>
                <a:lnTo>
                  <a:pt x="140081" y="152526"/>
                </a:lnTo>
                <a:lnTo>
                  <a:pt x="152526" y="142493"/>
                </a:lnTo>
                <a:lnTo>
                  <a:pt x="159385" y="128269"/>
                </a:lnTo>
                <a:lnTo>
                  <a:pt x="168910" y="112649"/>
                </a:lnTo>
                <a:lnTo>
                  <a:pt x="162306" y="45338"/>
                </a:lnTo>
                <a:lnTo>
                  <a:pt x="126746" y="10667"/>
                </a:lnTo>
                <a:lnTo>
                  <a:pt x="112522" y="3937"/>
                </a:lnTo>
                <a:lnTo>
                  <a:pt x="92837" y="0"/>
                </a:lnTo>
                <a:close/>
              </a:path>
            </a:pathLst>
          </a:custGeom>
          <a:solidFill>
            <a:srgbClr val="D9D9D9"/>
          </a:solidFill>
        </p:spPr>
        <p:txBody>
          <a:bodyPr wrap="square" lIns="0" tIns="0" rIns="0" bIns="0" rtlCol="0"/>
          <a:lstStyle/>
          <a:p>
            <a:endParaRPr/>
          </a:p>
        </p:txBody>
      </p:sp>
      <p:sp>
        <p:nvSpPr>
          <p:cNvPr id="30" name="object 30"/>
          <p:cNvSpPr/>
          <p:nvPr/>
        </p:nvSpPr>
        <p:spPr>
          <a:xfrm>
            <a:off x="9611359" y="3412997"/>
            <a:ext cx="171450" cy="173355"/>
          </a:xfrm>
          <a:custGeom>
            <a:avLst/>
            <a:gdLst/>
            <a:ahLst/>
            <a:cxnLst/>
            <a:rect l="l" t="t" r="r" b="b"/>
            <a:pathLst>
              <a:path w="171450" h="173354">
                <a:moveTo>
                  <a:pt x="92837" y="0"/>
                </a:moveTo>
                <a:lnTo>
                  <a:pt x="78740" y="126"/>
                </a:lnTo>
                <a:lnTo>
                  <a:pt x="61849" y="1777"/>
                </a:lnTo>
                <a:lnTo>
                  <a:pt x="31242" y="17779"/>
                </a:lnTo>
                <a:lnTo>
                  <a:pt x="20193" y="30606"/>
                </a:lnTo>
                <a:lnTo>
                  <a:pt x="9144" y="43306"/>
                </a:lnTo>
                <a:lnTo>
                  <a:pt x="3683" y="60325"/>
                </a:lnTo>
                <a:lnTo>
                  <a:pt x="1143" y="75818"/>
                </a:lnTo>
                <a:lnTo>
                  <a:pt x="0" y="94106"/>
                </a:lnTo>
                <a:lnTo>
                  <a:pt x="8890" y="124840"/>
                </a:lnTo>
                <a:lnTo>
                  <a:pt x="60198" y="169163"/>
                </a:lnTo>
                <a:lnTo>
                  <a:pt x="93980" y="172847"/>
                </a:lnTo>
                <a:lnTo>
                  <a:pt x="124714" y="163956"/>
                </a:lnTo>
                <a:lnTo>
                  <a:pt x="140081" y="152526"/>
                </a:lnTo>
                <a:lnTo>
                  <a:pt x="152526" y="142493"/>
                </a:lnTo>
                <a:lnTo>
                  <a:pt x="159385" y="128269"/>
                </a:lnTo>
                <a:lnTo>
                  <a:pt x="168910" y="112649"/>
                </a:lnTo>
                <a:lnTo>
                  <a:pt x="162306" y="45338"/>
                </a:lnTo>
                <a:lnTo>
                  <a:pt x="126746" y="10667"/>
                </a:lnTo>
                <a:lnTo>
                  <a:pt x="112522" y="3937"/>
                </a:lnTo>
                <a:lnTo>
                  <a:pt x="92837" y="0"/>
                </a:lnTo>
                <a:close/>
              </a:path>
            </a:pathLst>
          </a:custGeom>
          <a:solidFill>
            <a:srgbClr val="D9D9D9"/>
          </a:solidFill>
        </p:spPr>
        <p:txBody>
          <a:bodyPr wrap="square" lIns="0" tIns="0" rIns="0" bIns="0" rtlCol="0"/>
          <a:lstStyle/>
          <a:p>
            <a:endParaRPr/>
          </a:p>
        </p:txBody>
      </p:sp>
      <p:sp>
        <p:nvSpPr>
          <p:cNvPr id="31" name="object 31"/>
          <p:cNvSpPr/>
          <p:nvPr/>
        </p:nvSpPr>
        <p:spPr>
          <a:xfrm>
            <a:off x="9606024" y="3063367"/>
            <a:ext cx="153670" cy="156210"/>
          </a:xfrm>
          <a:custGeom>
            <a:avLst/>
            <a:gdLst/>
            <a:ahLst/>
            <a:cxnLst/>
            <a:rect l="l" t="t" r="r" b="b"/>
            <a:pathLst>
              <a:path w="153670" h="156210">
                <a:moveTo>
                  <a:pt x="69090" y="0"/>
                </a:moveTo>
                <a:lnTo>
                  <a:pt x="28577" y="17399"/>
                </a:lnTo>
                <a:lnTo>
                  <a:pt x="9273" y="41656"/>
                </a:lnTo>
                <a:lnTo>
                  <a:pt x="2415" y="55753"/>
                </a:lnTo>
                <a:lnTo>
                  <a:pt x="0" y="70485"/>
                </a:lnTo>
                <a:lnTo>
                  <a:pt x="2" y="85344"/>
                </a:lnTo>
                <a:lnTo>
                  <a:pt x="256" y="99441"/>
                </a:lnTo>
                <a:lnTo>
                  <a:pt x="7495" y="113411"/>
                </a:lnTo>
                <a:lnTo>
                  <a:pt x="14734" y="127254"/>
                </a:lnTo>
                <a:lnTo>
                  <a:pt x="26037" y="135636"/>
                </a:lnTo>
                <a:lnTo>
                  <a:pt x="38864" y="146685"/>
                </a:lnTo>
                <a:lnTo>
                  <a:pt x="53088" y="153416"/>
                </a:lnTo>
                <a:lnTo>
                  <a:pt x="68582" y="156083"/>
                </a:lnTo>
                <a:lnTo>
                  <a:pt x="82552" y="155829"/>
                </a:lnTo>
                <a:lnTo>
                  <a:pt x="113413" y="146938"/>
                </a:lnTo>
                <a:lnTo>
                  <a:pt x="123065" y="138303"/>
                </a:lnTo>
                <a:lnTo>
                  <a:pt x="135638" y="128270"/>
                </a:lnTo>
                <a:lnTo>
                  <a:pt x="143893" y="116967"/>
                </a:lnTo>
                <a:lnTo>
                  <a:pt x="150751" y="102743"/>
                </a:lnTo>
                <a:lnTo>
                  <a:pt x="153291" y="87249"/>
                </a:lnTo>
                <a:lnTo>
                  <a:pt x="151640" y="70485"/>
                </a:lnTo>
                <a:lnTo>
                  <a:pt x="151386" y="56387"/>
                </a:lnTo>
                <a:lnTo>
                  <a:pt x="136908" y="28448"/>
                </a:lnTo>
                <a:lnTo>
                  <a:pt x="114175" y="11937"/>
                </a:lnTo>
                <a:lnTo>
                  <a:pt x="100078" y="5207"/>
                </a:lnTo>
                <a:lnTo>
                  <a:pt x="69090" y="0"/>
                </a:lnTo>
                <a:close/>
              </a:path>
            </a:pathLst>
          </a:custGeom>
          <a:solidFill>
            <a:srgbClr val="D9D9D9"/>
          </a:solidFill>
        </p:spPr>
        <p:txBody>
          <a:bodyPr wrap="square" lIns="0" tIns="0" rIns="0" bIns="0" rtlCol="0"/>
          <a:lstStyle/>
          <a:p>
            <a:endParaRPr/>
          </a:p>
        </p:txBody>
      </p:sp>
      <p:sp>
        <p:nvSpPr>
          <p:cNvPr id="32" name="object 32"/>
          <p:cNvSpPr/>
          <p:nvPr/>
        </p:nvSpPr>
        <p:spPr>
          <a:xfrm>
            <a:off x="9606024" y="3063367"/>
            <a:ext cx="153670" cy="156210"/>
          </a:xfrm>
          <a:custGeom>
            <a:avLst/>
            <a:gdLst/>
            <a:ahLst/>
            <a:cxnLst/>
            <a:rect l="l" t="t" r="r" b="b"/>
            <a:pathLst>
              <a:path w="153670" h="156210">
                <a:moveTo>
                  <a:pt x="69090" y="0"/>
                </a:moveTo>
                <a:lnTo>
                  <a:pt x="28577" y="17399"/>
                </a:lnTo>
                <a:lnTo>
                  <a:pt x="9273" y="41656"/>
                </a:lnTo>
                <a:lnTo>
                  <a:pt x="2415" y="55753"/>
                </a:lnTo>
                <a:lnTo>
                  <a:pt x="0" y="70485"/>
                </a:lnTo>
                <a:lnTo>
                  <a:pt x="2" y="85344"/>
                </a:lnTo>
                <a:lnTo>
                  <a:pt x="256" y="99441"/>
                </a:lnTo>
                <a:lnTo>
                  <a:pt x="7495" y="113411"/>
                </a:lnTo>
                <a:lnTo>
                  <a:pt x="14734" y="127254"/>
                </a:lnTo>
                <a:lnTo>
                  <a:pt x="26037" y="135636"/>
                </a:lnTo>
                <a:lnTo>
                  <a:pt x="38864" y="146685"/>
                </a:lnTo>
                <a:lnTo>
                  <a:pt x="53088" y="153416"/>
                </a:lnTo>
                <a:lnTo>
                  <a:pt x="68582" y="156083"/>
                </a:lnTo>
                <a:lnTo>
                  <a:pt x="82552" y="155829"/>
                </a:lnTo>
                <a:lnTo>
                  <a:pt x="113413" y="146938"/>
                </a:lnTo>
                <a:lnTo>
                  <a:pt x="123065" y="138303"/>
                </a:lnTo>
                <a:lnTo>
                  <a:pt x="135638" y="128270"/>
                </a:lnTo>
                <a:lnTo>
                  <a:pt x="143893" y="116967"/>
                </a:lnTo>
                <a:lnTo>
                  <a:pt x="150751" y="102743"/>
                </a:lnTo>
                <a:lnTo>
                  <a:pt x="153291" y="87249"/>
                </a:lnTo>
                <a:lnTo>
                  <a:pt x="151640" y="70485"/>
                </a:lnTo>
                <a:lnTo>
                  <a:pt x="151386" y="56387"/>
                </a:lnTo>
                <a:lnTo>
                  <a:pt x="136908" y="28448"/>
                </a:lnTo>
                <a:lnTo>
                  <a:pt x="114175" y="11937"/>
                </a:lnTo>
                <a:lnTo>
                  <a:pt x="100078" y="5207"/>
                </a:lnTo>
                <a:lnTo>
                  <a:pt x="69090" y="0"/>
                </a:lnTo>
                <a:close/>
              </a:path>
            </a:pathLst>
          </a:custGeom>
          <a:solidFill>
            <a:srgbClr val="D9D9D9"/>
          </a:solidFill>
        </p:spPr>
        <p:txBody>
          <a:bodyPr wrap="square" lIns="0" tIns="0" rIns="0" bIns="0" rtlCol="0"/>
          <a:lstStyle/>
          <a:p>
            <a:endParaRPr/>
          </a:p>
        </p:txBody>
      </p:sp>
      <p:sp>
        <p:nvSpPr>
          <p:cNvPr id="33" name="object 33"/>
          <p:cNvSpPr/>
          <p:nvPr/>
        </p:nvSpPr>
        <p:spPr>
          <a:xfrm>
            <a:off x="9534526" y="2724150"/>
            <a:ext cx="139699" cy="138430"/>
          </a:xfrm>
          <a:custGeom>
            <a:avLst/>
            <a:gdLst/>
            <a:ahLst/>
            <a:cxnLst/>
            <a:rect l="l" t="t" r="r" b="b"/>
            <a:pathLst>
              <a:path w="139700" h="138430">
                <a:moveTo>
                  <a:pt x="77850" y="0"/>
                </a:moveTo>
                <a:lnTo>
                  <a:pt x="63753" y="126"/>
                </a:lnTo>
                <a:lnTo>
                  <a:pt x="51180" y="3175"/>
                </a:lnTo>
                <a:lnTo>
                  <a:pt x="38607" y="6096"/>
                </a:lnTo>
                <a:lnTo>
                  <a:pt x="10922" y="34671"/>
                </a:lnTo>
                <a:lnTo>
                  <a:pt x="0" y="61595"/>
                </a:lnTo>
                <a:lnTo>
                  <a:pt x="253" y="75564"/>
                </a:lnTo>
                <a:lnTo>
                  <a:pt x="16255" y="113284"/>
                </a:lnTo>
                <a:lnTo>
                  <a:pt x="48895" y="135382"/>
                </a:lnTo>
                <a:lnTo>
                  <a:pt x="64516" y="137922"/>
                </a:lnTo>
                <a:lnTo>
                  <a:pt x="78485" y="137667"/>
                </a:lnTo>
                <a:lnTo>
                  <a:pt x="123190" y="114553"/>
                </a:lnTo>
                <a:lnTo>
                  <a:pt x="138175" y="89026"/>
                </a:lnTo>
                <a:lnTo>
                  <a:pt x="138049" y="74929"/>
                </a:lnTo>
                <a:lnTo>
                  <a:pt x="139319" y="63753"/>
                </a:lnTo>
                <a:lnTo>
                  <a:pt x="125983" y="24511"/>
                </a:lnTo>
                <a:lnTo>
                  <a:pt x="93345" y="2539"/>
                </a:lnTo>
                <a:lnTo>
                  <a:pt x="77850" y="0"/>
                </a:lnTo>
                <a:close/>
              </a:path>
            </a:pathLst>
          </a:custGeom>
          <a:solidFill>
            <a:srgbClr val="D9D9D9"/>
          </a:solidFill>
        </p:spPr>
        <p:txBody>
          <a:bodyPr wrap="square" lIns="0" tIns="0" rIns="0" bIns="0" rtlCol="0"/>
          <a:lstStyle/>
          <a:p>
            <a:endParaRPr/>
          </a:p>
        </p:txBody>
      </p:sp>
      <p:sp>
        <p:nvSpPr>
          <p:cNvPr id="34" name="object 34"/>
          <p:cNvSpPr/>
          <p:nvPr/>
        </p:nvSpPr>
        <p:spPr>
          <a:xfrm>
            <a:off x="9534526" y="2724150"/>
            <a:ext cx="139699" cy="138430"/>
          </a:xfrm>
          <a:custGeom>
            <a:avLst/>
            <a:gdLst/>
            <a:ahLst/>
            <a:cxnLst/>
            <a:rect l="l" t="t" r="r" b="b"/>
            <a:pathLst>
              <a:path w="139700" h="138430">
                <a:moveTo>
                  <a:pt x="77850" y="0"/>
                </a:moveTo>
                <a:lnTo>
                  <a:pt x="63753" y="126"/>
                </a:lnTo>
                <a:lnTo>
                  <a:pt x="51180" y="3175"/>
                </a:lnTo>
                <a:lnTo>
                  <a:pt x="38607" y="6096"/>
                </a:lnTo>
                <a:lnTo>
                  <a:pt x="10922" y="34671"/>
                </a:lnTo>
                <a:lnTo>
                  <a:pt x="0" y="61595"/>
                </a:lnTo>
                <a:lnTo>
                  <a:pt x="253" y="75564"/>
                </a:lnTo>
                <a:lnTo>
                  <a:pt x="16255" y="113284"/>
                </a:lnTo>
                <a:lnTo>
                  <a:pt x="48895" y="135382"/>
                </a:lnTo>
                <a:lnTo>
                  <a:pt x="64516" y="137922"/>
                </a:lnTo>
                <a:lnTo>
                  <a:pt x="78485" y="137667"/>
                </a:lnTo>
                <a:lnTo>
                  <a:pt x="123190" y="114553"/>
                </a:lnTo>
                <a:lnTo>
                  <a:pt x="138175" y="89026"/>
                </a:lnTo>
                <a:lnTo>
                  <a:pt x="138049" y="74929"/>
                </a:lnTo>
                <a:lnTo>
                  <a:pt x="139319" y="63753"/>
                </a:lnTo>
                <a:lnTo>
                  <a:pt x="125983" y="24511"/>
                </a:lnTo>
                <a:lnTo>
                  <a:pt x="93345" y="2539"/>
                </a:lnTo>
                <a:lnTo>
                  <a:pt x="77850" y="0"/>
                </a:lnTo>
                <a:close/>
              </a:path>
            </a:pathLst>
          </a:custGeom>
          <a:solidFill>
            <a:srgbClr val="D9D9D9"/>
          </a:solidFill>
        </p:spPr>
        <p:txBody>
          <a:bodyPr wrap="square" lIns="0" tIns="0" rIns="0" bIns="0" rtlCol="0"/>
          <a:lstStyle/>
          <a:p>
            <a:endParaRPr/>
          </a:p>
        </p:txBody>
      </p:sp>
      <p:sp>
        <p:nvSpPr>
          <p:cNvPr id="35" name="object 35"/>
          <p:cNvSpPr/>
          <p:nvPr/>
        </p:nvSpPr>
        <p:spPr>
          <a:xfrm>
            <a:off x="9406002" y="2398648"/>
            <a:ext cx="124461" cy="127000"/>
          </a:xfrm>
          <a:custGeom>
            <a:avLst/>
            <a:gdLst/>
            <a:ahLst/>
            <a:cxnLst/>
            <a:rect l="l" t="t" r="r" b="b"/>
            <a:pathLst>
              <a:path w="124459" h="127000">
                <a:moveTo>
                  <a:pt x="45593" y="1650"/>
                </a:moveTo>
                <a:lnTo>
                  <a:pt x="23241" y="13335"/>
                </a:lnTo>
                <a:lnTo>
                  <a:pt x="14985" y="24637"/>
                </a:lnTo>
                <a:lnTo>
                  <a:pt x="8000" y="31750"/>
                </a:lnTo>
                <a:lnTo>
                  <a:pt x="4064" y="44450"/>
                </a:lnTo>
                <a:lnTo>
                  <a:pt x="0" y="57150"/>
                </a:lnTo>
                <a:lnTo>
                  <a:pt x="253" y="71247"/>
                </a:lnTo>
                <a:lnTo>
                  <a:pt x="20447" y="110362"/>
                </a:lnTo>
                <a:lnTo>
                  <a:pt x="57276" y="126618"/>
                </a:lnTo>
                <a:lnTo>
                  <a:pt x="67055" y="125095"/>
                </a:lnTo>
                <a:lnTo>
                  <a:pt x="81152" y="124840"/>
                </a:lnTo>
                <a:lnTo>
                  <a:pt x="92328" y="119125"/>
                </a:lnTo>
                <a:lnTo>
                  <a:pt x="103377" y="113284"/>
                </a:lnTo>
                <a:lnTo>
                  <a:pt x="108966" y="103377"/>
                </a:lnTo>
                <a:lnTo>
                  <a:pt x="118618" y="94741"/>
                </a:lnTo>
                <a:lnTo>
                  <a:pt x="122681" y="82041"/>
                </a:lnTo>
                <a:lnTo>
                  <a:pt x="123951" y="70865"/>
                </a:lnTo>
                <a:lnTo>
                  <a:pt x="123698" y="56768"/>
                </a:lnTo>
                <a:lnTo>
                  <a:pt x="103377" y="17652"/>
                </a:lnTo>
                <a:lnTo>
                  <a:pt x="78891" y="2921"/>
                </a:lnTo>
                <a:lnTo>
                  <a:pt x="56769" y="2921"/>
                </a:lnTo>
                <a:lnTo>
                  <a:pt x="45593" y="1650"/>
                </a:lnTo>
                <a:close/>
              </a:path>
              <a:path w="124459" h="127000">
                <a:moveTo>
                  <a:pt x="69469" y="0"/>
                </a:moveTo>
                <a:lnTo>
                  <a:pt x="56769" y="2921"/>
                </a:lnTo>
                <a:lnTo>
                  <a:pt x="78891" y="2921"/>
                </a:lnTo>
                <a:lnTo>
                  <a:pt x="69469" y="0"/>
                </a:lnTo>
                <a:close/>
              </a:path>
            </a:pathLst>
          </a:custGeom>
          <a:solidFill>
            <a:srgbClr val="D9D9D9"/>
          </a:solidFill>
        </p:spPr>
        <p:txBody>
          <a:bodyPr wrap="square" lIns="0" tIns="0" rIns="0" bIns="0" rtlCol="0"/>
          <a:lstStyle/>
          <a:p>
            <a:endParaRPr/>
          </a:p>
        </p:txBody>
      </p:sp>
      <p:sp>
        <p:nvSpPr>
          <p:cNvPr id="36" name="object 36"/>
          <p:cNvSpPr/>
          <p:nvPr/>
        </p:nvSpPr>
        <p:spPr>
          <a:xfrm>
            <a:off x="9406002" y="2398648"/>
            <a:ext cx="124461" cy="127000"/>
          </a:xfrm>
          <a:custGeom>
            <a:avLst/>
            <a:gdLst/>
            <a:ahLst/>
            <a:cxnLst/>
            <a:rect l="l" t="t" r="r" b="b"/>
            <a:pathLst>
              <a:path w="124459" h="127000">
                <a:moveTo>
                  <a:pt x="45593" y="1650"/>
                </a:moveTo>
                <a:lnTo>
                  <a:pt x="23241" y="13335"/>
                </a:lnTo>
                <a:lnTo>
                  <a:pt x="14985" y="24637"/>
                </a:lnTo>
                <a:lnTo>
                  <a:pt x="8000" y="31750"/>
                </a:lnTo>
                <a:lnTo>
                  <a:pt x="4064" y="44450"/>
                </a:lnTo>
                <a:lnTo>
                  <a:pt x="0" y="57150"/>
                </a:lnTo>
                <a:lnTo>
                  <a:pt x="253" y="71247"/>
                </a:lnTo>
                <a:lnTo>
                  <a:pt x="20447" y="110362"/>
                </a:lnTo>
                <a:lnTo>
                  <a:pt x="57276" y="126618"/>
                </a:lnTo>
                <a:lnTo>
                  <a:pt x="67055" y="125095"/>
                </a:lnTo>
                <a:lnTo>
                  <a:pt x="81152" y="124840"/>
                </a:lnTo>
                <a:lnTo>
                  <a:pt x="92328" y="119125"/>
                </a:lnTo>
                <a:lnTo>
                  <a:pt x="103377" y="113284"/>
                </a:lnTo>
                <a:lnTo>
                  <a:pt x="108966" y="103377"/>
                </a:lnTo>
                <a:lnTo>
                  <a:pt x="118618" y="94741"/>
                </a:lnTo>
                <a:lnTo>
                  <a:pt x="122681" y="82041"/>
                </a:lnTo>
                <a:lnTo>
                  <a:pt x="123951" y="70865"/>
                </a:lnTo>
                <a:lnTo>
                  <a:pt x="123698" y="56768"/>
                </a:lnTo>
                <a:lnTo>
                  <a:pt x="103377" y="17652"/>
                </a:lnTo>
                <a:lnTo>
                  <a:pt x="78891" y="2921"/>
                </a:lnTo>
                <a:lnTo>
                  <a:pt x="56769" y="2921"/>
                </a:lnTo>
                <a:lnTo>
                  <a:pt x="45593" y="1650"/>
                </a:lnTo>
                <a:close/>
              </a:path>
              <a:path w="124459" h="127000">
                <a:moveTo>
                  <a:pt x="69469" y="0"/>
                </a:moveTo>
                <a:lnTo>
                  <a:pt x="56769" y="2921"/>
                </a:lnTo>
                <a:lnTo>
                  <a:pt x="78891" y="2921"/>
                </a:lnTo>
                <a:lnTo>
                  <a:pt x="69469" y="0"/>
                </a:lnTo>
                <a:close/>
              </a:path>
            </a:pathLst>
          </a:custGeom>
          <a:solidFill>
            <a:srgbClr val="D9D9D9"/>
          </a:solidFill>
        </p:spPr>
        <p:txBody>
          <a:bodyPr wrap="square" lIns="0" tIns="0" rIns="0" bIns="0" rtlCol="0"/>
          <a:lstStyle/>
          <a:p>
            <a:endParaRPr/>
          </a:p>
        </p:txBody>
      </p:sp>
      <p:sp>
        <p:nvSpPr>
          <p:cNvPr id="37" name="object 37"/>
          <p:cNvSpPr/>
          <p:nvPr/>
        </p:nvSpPr>
        <p:spPr>
          <a:xfrm>
            <a:off x="9220327" y="2103627"/>
            <a:ext cx="114300" cy="114300"/>
          </a:xfrm>
          <a:custGeom>
            <a:avLst/>
            <a:gdLst/>
            <a:ahLst/>
            <a:cxnLst/>
            <a:rect l="l" t="t" r="r" b="b"/>
            <a:pathLst>
              <a:path w="114300" h="114300">
                <a:moveTo>
                  <a:pt x="52450" y="0"/>
                </a:moveTo>
                <a:lnTo>
                  <a:pt x="13462" y="20193"/>
                </a:lnTo>
                <a:lnTo>
                  <a:pt x="0" y="62611"/>
                </a:lnTo>
                <a:lnTo>
                  <a:pt x="1524" y="72389"/>
                </a:lnTo>
                <a:lnTo>
                  <a:pt x="7366" y="83566"/>
                </a:lnTo>
                <a:lnTo>
                  <a:pt x="11683" y="91948"/>
                </a:lnTo>
                <a:lnTo>
                  <a:pt x="18796" y="98806"/>
                </a:lnTo>
                <a:lnTo>
                  <a:pt x="30225" y="107061"/>
                </a:lnTo>
                <a:lnTo>
                  <a:pt x="38734" y="109855"/>
                </a:lnTo>
                <a:lnTo>
                  <a:pt x="51434" y="113792"/>
                </a:lnTo>
                <a:lnTo>
                  <a:pt x="61214" y="112268"/>
                </a:lnTo>
                <a:lnTo>
                  <a:pt x="73787" y="109220"/>
                </a:lnTo>
                <a:lnTo>
                  <a:pt x="83693" y="107696"/>
                </a:lnTo>
                <a:lnTo>
                  <a:pt x="90550" y="100584"/>
                </a:lnTo>
                <a:lnTo>
                  <a:pt x="100202" y="92075"/>
                </a:lnTo>
                <a:lnTo>
                  <a:pt x="107188" y="84836"/>
                </a:lnTo>
                <a:lnTo>
                  <a:pt x="113919" y="63754"/>
                </a:lnTo>
                <a:lnTo>
                  <a:pt x="113665" y="49657"/>
                </a:lnTo>
                <a:lnTo>
                  <a:pt x="112141" y="39877"/>
                </a:lnTo>
                <a:lnTo>
                  <a:pt x="75056" y="2412"/>
                </a:lnTo>
                <a:lnTo>
                  <a:pt x="63753" y="1143"/>
                </a:lnTo>
                <a:lnTo>
                  <a:pt x="52450" y="0"/>
                </a:lnTo>
                <a:close/>
              </a:path>
            </a:pathLst>
          </a:custGeom>
          <a:solidFill>
            <a:srgbClr val="D9D9D9"/>
          </a:solidFill>
        </p:spPr>
        <p:txBody>
          <a:bodyPr wrap="square" lIns="0" tIns="0" rIns="0" bIns="0" rtlCol="0"/>
          <a:lstStyle/>
          <a:p>
            <a:endParaRPr/>
          </a:p>
        </p:txBody>
      </p:sp>
      <p:sp>
        <p:nvSpPr>
          <p:cNvPr id="38" name="object 38"/>
          <p:cNvSpPr/>
          <p:nvPr/>
        </p:nvSpPr>
        <p:spPr>
          <a:xfrm>
            <a:off x="9220327" y="2103627"/>
            <a:ext cx="114300" cy="114300"/>
          </a:xfrm>
          <a:custGeom>
            <a:avLst/>
            <a:gdLst/>
            <a:ahLst/>
            <a:cxnLst/>
            <a:rect l="l" t="t" r="r" b="b"/>
            <a:pathLst>
              <a:path w="114300" h="114300">
                <a:moveTo>
                  <a:pt x="52450" y="0"/>
                </a:moveTo>
                <a:lnTo>
                  <a:pt x="13462" y="20193"/>
                </a:lnTo>
                <a:lnTo>
                  <a:pt x="0" y="62611"/>
                </a:lnTo>
                <a:lnTo>
                  <a:pt x="1524" y="72389"/>
                </a:lnTo>
                <a:lnTo>
                  <a:pt x="7366" y="83566"/>
                </a:lnTo>
                <a:lnTo>
                  <a:pt x="11683" y="91948"/>
                </a:lnTo>
                <a:lnTo>
                  <a:pt x="18796" y="98806"/>
                </a:lnTo>
                <a:lnTo>
                  <a:pt x="30225" y="107061"/>
                </a:lnTo>
                <a:lnTo>
                  <a:pt x="38734" y="109855"/>
                </a:lnTo>
                <a:lnTo>
                  <a:pt x="51434" y="113792"/>
                </a:lnTo>
                <a:lnTo>
                  <a:pt x="61214" y="112268"/>
                </a:lnTo>
                <a:lnTo>
                  <a:pt x="73787" y="109220"/>
                </a:lnTo>
                <a:lnTo>
                  <a:pt x="83693" y="107696"/>
                </a:lnTo>
                <a:lnTo>
                  <a:pt x="90550" y="100584"/>
                </a:lnTo>
                <a:lnTo>
                  <a:pt x="100202" y="92075"/>
                </a:lnTo>
                <a:lnTo>
                  <a:pt x="107188" y="84836"/>
                </a:lnTo>
                <a:lnTo>
                  <a:pt x="113919" y="63754"/>
                </a:lnTo>
                <a:lnTo>
                  <a:pt x="113665" y="49657"/>
                </a:lnTo>
                <a:lnTo>
                  <a:pt x="112141" y="39877"/>
                </a:lnTo>
                <a:lnTo>
                  <a:pt x="75056" y="2412"/>
                </a:lnTo>
                <a:lnTo>
                  <a:pt x="63753" y="1143"/>
                </a:lnTo>
                <a:lnTo>
                  <a:pt x="52450" y="0"/>
                </a:lnTo>
                <a:close/>
              </a:path>
            </a:pathLst>
          </a:custGeom>
          <a:solidFill>
            <a:srgbClr val="D9D9D9"/>
          </a:solidFill>
        </p:spPr>
        <p:txBody>
          <a:bodyPr wrap="square" lIns="0" tIns="0" rIns="0" bIns="0" rtlCol="0"/>
          <a:lstStyle/>
          <a:p>
            <a:endParaRPr/>
          </a:p>
        </p:txBody>
      </p:sp>
      <p:sp>
        <p:nvSpPr>
          <p:cNvPr id="39" name="object 39"/>
          <p:cNvSpPr/>
          <p:nvPr/>
        </p:nvSpPr>
        <p:spPr>
          <a:xfrm>
            <a:off x="8985758" y="1845564"/>
            <a:ext cx="101599" cy="102870"/>
          </a:xfrm>
          <a:custGeom>
            <a:avLst/>
            <a:gdLst/>
            <a:ahLst/>
            <a:cxnLst/>
            <a:rect l="l" t="t" r="r" b="b"/>
            <a:pathLst>
              <a:path w="101600" h="102869">
                <a:moveTo>
                  <a:pt x="54101" y="0"/>
                </a:moveTo>
                <a:lnTo>
                  <a:pt x="17780" y="11811"/>
                </a:lnTo>
                <a:lnTo>
                  <a:pt x="0" y="45847"/>
                </a:lnTo>
                <a:lnTo>
                  <a:pt x="4572" y="75184"/>
                </a:lnTo>
                <a:lnTo>
                  <a:pt x="18923" y="89026"/>
                </a:lnTo>
                <a:lnTo>
                  <a:pt x="26035" y="96012"/>
                </a:lnTo>
                <a:lnTo>
                  <a:pt x="34544" y="98678"/>
                </a:lnTo>
                <a:lnTo>
                  <a:pt x="45720" y="99949"/>
                </a:lnTo>
                <a:lnTo>
                  <a:pt x="54228" y="102615"/>
                </a:lnTo>
                <a:lnTo>
                  <a:pt x="64008" y="101091"/>
                </a:lnTo>
                <a:lnTo>
                  <a:pt x="83566" y="90932"/>
                </a:lnTo>
                <a:lnTo>
                  <a:pt x="90550" y="83820"/>
                </a:lnTo>
                <a:lnTo>
                  <a:pt x="93218" y="75311"/>
                </a:lnTo>
                <a:lnTo>
                  <a:pt x="98678" y="65405"/>
                </a:lnTo>
                <a:lnTo>
                  <a:pt x="101346" y="56896"/>
                </a:lnTo>
                <a:lnTo>
                  <a:pt x="98298" y="37337"/>
                </a:lnTo>
                <a:lnTo>
                  <a:pt x="96647" y="27432"/>
                </a:lnTo>
                <a:lnTo>
                  <a:pt x="89535" y="20574"/>
                </a:lnTo>
                <a:lnTo>
                  <a:pt x="82423" y="13588"/>
                </a:lnTo>
                <a:lnTo>
                  <a:pt x="75311" y="6731"/>
                </a:lnTo>
                <a:lnTo>
                  <a:pt x="65405" y="1270"/>
                </a:lnTo>
                <a:lnTo>
                  <a:pt x="54101" y="0"/>
                </a:lnTo>
                <a:close/>
              </a:path>
            </a:pathLst>
          </a:custGeom>
          <a:solidFill>
            <a:srgbClr val="D9D9D9"/>
          </a:solidFill>
        </p:spPr>
        <p:txBody>
          <a:bodyPr wrap="square" lIns="0" tIns="0" rIns="0" bIns="0" rtlCol="0"/>
          <a:lstStyle/>
          <a:p>
            <a:endParaRPr/>
          </a:p>
        </p:txBody>
      </p:sp>
      <p:sp>
        <p:nvSpPr>
          <p:cNvPr id="40" name="object 40"/>
          <p:cNvSpPr/>
          <p:nvPr/>
        </p:nvSpPr>
        <p:spPr>
          <a:xfrm>
            <a:off x="8985758" y="1845564"/>
            <a:ext cx="101599" cy="102870"/>
          </a:xfrm>
          <a:custGeom>
            <a:avLst/>
            <a:gdLst/>
            <a:ahLst/>
            <a:cxnLst/>
            <a:rect l="l" t="t" r="r" b="b"/>
            <a:pathLst>
              <a:path w="101600" h="102869">
                <a:moveTo>
                  <a:pt x="54101" y="0"/>
                </a:moveTo>
                <a:lnTo>
                  <a:pt x="17780" y="11811"/>
                </a:lnTo>
                <a:lnTo>
                  <a:pt x="0" y="45847"/>
                </a:lnTo>
                <a:lnTo>
                  <a:pt x="4572" y="75184"/>
                </a:lnTo>
                <a:lnTo>
                  <a:pt x="18923" y="89026"/>
                </a:lnTo>
                <a:lnTo>
                  <a:pt x="26035" y="96012"/>
                </a:lnTo>
                <a:lnTo>
                  <a:pt x="34544" y="98678"/>
                </a:lnTo>
                <a:lnTo>
                  <a:pt x="45720" y="99949"/>
                </a:lnTo>
                <a:lnTo>
                  <a:pt x="54228" y="102615"/>
                </a:lnTo>
                <a:lnTo>
                  <a:pt x="64008" y="101091"/>
                </a:lnTo>
                <a:lnTo>
                  <a:pt x="83566" y="90932"/>
                </a:lnTo>
                <a:lnTo>
                  <a:pt x="90550" y="83820"/>
                </a:lnTo>
                <a:lnTo>
                  <a:pt x="93218" y="75311"/>
                </a:lnTo>
                <a:lnTo>
                  <a:pt x="98678" y="65405"/>
                </a:lnTo>
                <a:lnTo>
                  <a:pt x="101346" y="56896"/>
                </a:lnTo>
                <a:lnTo>
                  <a:pt x="98298" y="37337"/>
                </a:lnTo>
                <a:lnTo>
                  <a:pt x="96647" y="27432"/>
                </a:lnTo>
                <a:lnTo>
                  <a:pt x="89535" y="20574"/>
                </a:lnTo>
                <a:lnTo>
                  <a:pt x="82423" y="13588"/>
                </a:lnTo>
                <a:lnTo>
                  <a:pt x="75311" y="6731"/>
                </a:lnTo>
                <a:lnTo>
                  <a:pt x="65405" y="1270"/>
                </a:lnTo>
                <a:lnTo>
                  <a:pt x="54101" y="0"/>
                </a:lnTo>
                <a:close/>
              </a:path>
            </a:pathLst>
          </a:custGeom>
          <a:solidFill>
            <a:srgbClr val="D9D9D9"/>
          </a:solidFill>
        </p:spPr>
        <p:txBody>
          <a:bodyPr wrap="square" lIns="0" tIns="0" rIns="0" bIns="0" rtlCol="0"/>
          <a:lstStyle/>
          <a:p>
            <a:endParaRPr/>
          </a:p>
        </p:txBody>
      </p:sp>
      <p:sp>
        <p:nvSpPr>
          <p:cNvPr id="41" name="object 41"/>
          <p:cNvSpPr/>
          <p:nvPr/>
        </p:nvSpPr>
        <p:spPr>
          <a:xfrm>
            <a:off x="8707119" y="1631950"/>
            <a:ext cx="91441" cy="91440"/>
          </a:xfrm>
          <a:custGeom>
            <a:avLst/>
            <a:gdLst/>
            <a:ahLst/>
            <a:cxnLst/>
            <a:rect l="l" t="t" r="r" b="b"/>
            <a:pathLst>
              <a:path w="91440" h="91439">
                <a:moveTo>
                  <a:pt x="41401" y="0"/>
                </a:moveTo>
                <a:lnTo>
                  <a:pt x="23240" y="5969"/>
                </a:lnTo>
                <a:lnTo>
                  <a:pt x="10668" y="16001"/>
                </a:lnTo>
                <a:lnTo>
                  <a:pt x="2539" y="34416"/>
                </a:lnTo>
                <a:lnTo>
                  <a:pt x="0" y="49911"/>
                </a:lnTo>
                <a:lnTo>
                  <a:pt x="5841" y="68072"/>
                </a:lnTo>
                <a:lnTo>
                  <a:pt x="15875" y="80517"/>
                </a:lnTo>
                <a:lnTo>
                  <a:pt x="31496" y="90170"/>
                </a:lnTo>
                <a:lnTo>
                  <a:pt x="49783" y="91312"/>
                </a:lnTo>
                <a:lnTo>
                  <a:pt x="65150" y="86867"/>
                </a:lnTo>
                <a:lnTo>
                  <a:pt x="80518" y="75437"/>
                </a:lnTo>
                <a:lnTo>
                  <a:pt x="90043" y="59816"/>
                </a:lnTo>
                <a:lnTo>
                  <a:pt x="91185" y="41528"/>
                </a:lnTo>
                <a:lnTo>
                  <a:pt x="86740" y="26035"/>
                </a:lnTo>
                <a:lnTo>
                  <a:pt x="75310" y="10795"/>
                </a:lnTo>
                <a:lnTo>
                  <a:pt x="61086" y="3937"/>
                </a:lnTo>
                <a:lnTo>
                  <a:pt x="41401" y="0"/>
                </a:lnTo>
                <a:close/>
              </a:path>
            </a:pathLst>
          </a:custGeom>
          <a:solidFill>
            <a:srgbClr val="D9D9D9"/>
          </a:solidFill>
        </p:spPr>
        <p:txBody>
          <a:bodyPr wrap="square" lIns="0" tIns="0" rIns="0" bIns="0" rtlCol="0"/>
          <a:lstStyle/>
          <a:p>
            <a:endParaRPr/>
          </a:p>
        </p:txBody>
      </p:sp>
      <p:sp>
        <p:nvSpPr>
          <p:cNvPr id="42" name="object 42"/>
          <p:cNvSpPr/>
          <p:nvPr/>
        </p:nvSpPr>
        <p:spPr>
          <a:xfrm>
            <a:off x="8707119" y="1631950"/>
            <a:ext cx="91441" cy="91440"/>
          </a:xfrm>
          <a:custGeom>
            <a:avLst/>
            <a:gdLst/>
            <a:ahLst/>
            <a:cxnLst/>
            <a:rect l="l" t="t" r="r" b="b"/>
            <a:pathLst>
              <a:path w="91440" h="91439">
                <a:moveTo>
                  <a:pt x="41401" y="0"/>
                </a:moveTo>
                <a:lnTo>
                  <a:pt x="23240" y="5969"/>
                </a:lnTo>
                <a:lnTo>
                  <a:pt x="10668" y="16001"/>
                </a:lnTo>
                <a:lnTo>
                  <a:pt x="2539" y="34416"/>
                </a:lnTo>
                <a:lnTo>
                  <a:pt x="0" y="49911"/>
                </a:lnTo>
                <a:lnTo>
                  <a:pt x="5841" y="68072"/>
                </a:lnTo>
                <a:lnTo>
                  <a:pt x="15875" y="80517"/>
                </a:lnTo>
                <a:lnTo>
                  <a:pt x="31496" y="90170"/>
                </a:lnTo>
                <a:lnTo>
                  <a:pt x="49783" y="91312"/>
                </a:lnTo>
                <a:lnTo>
                  <a:pt x="65150" y="86867"/>
                </a:lnTo>
                <a:lnTo>
                  <a:pt x="80518" y="75437"/>
                </a:lnTo>
                <a:lnTo>
                  <a:pt x="90043" y="59816"/>
                </a:lnTo>
                <a:lnTo>
                  <a:pt x="91185" y="41528"/>
                </a:lnTo>
                <a:lnTo>
                  <a:pt x="86740" y="26035"/>
                </a:lnTo>
                <a:lnTo>
                  <a:pt x="75310" y="10795"/>
                </a:lnTo>
                <a:lnTo>
                  <a:pt x="61086" y="3937"/>
                </a:lnTo>
                <a:lnTo>
                  <a:pt x="41401" y="0"/>
                </a:lnTo>
                <a:close/>
              </a:path>
            </a:pathLst>
          </a:custGeom>
          <a:solidFill>
            <a:srgbClr val="D9D9D9"/>
          </a:solidFill>
        </p:spPr>
        <p:txBody>
          <a:bodyPr wrap="square" lIns="0" tIns="0" rIns="0" bIns="0" rtlCol="0"/>
          <a:lstStyle/>
          <a:p>
            <a:endParaRPr/>
          </a:p>
        </p:txBody>
      </p:sp>
      <p:sp>
        <p:nvSpPr>
          <p:cNvPr id="43" name="object 43"/>
          <p:cNvSpPr/>
          <p:nvPr/>
        </p:nvSpPr>
        <p:spPr>
          <a:xfrm>
            <a:off x="8395462" y="1473454"/>
            <a:ext cx="81914" cy="81915"/>
          </a:xfrm>
          <a:custGeom>
            <a:avLst/>
            <a:gdLst/>
            <a:ahLst/>
            <a:cxnLst/>
            <a:rect l="l" t="t" r="r" b="b"/>
            <a:pathLst>
              <a:path w="81915" h="81915">
                <a:moveTo>
                  <a:pt x="51308" y="0"/>
                </a:moveTo>
                <a:lnTo>
                  <a:pt x="9398" y="14605"/>
                </a:lnTo>
                <a:lnTo>
                  <a:pt x="0" y="44323"/>
                </a:lnTo>
                <a:lnTo>
                  <a:pt x="4445" y="59690"/>
                </a:lnTo>
                <a:lnTo>
                  <a:pt x="14351" y="72262"/>
                </a:lnTo>
                <a:lnTo>
                  <a:pt x="28575" y="78994"/>
                </a:lnTo>
                <a:lnTo>
                  <a:pt x="44069" y="81661"/>
                </a:lnTo>
                <a:lnTo>
                  <a:pt x="59436" y="77216"/>
                </a:lnTo>
                <a:lnTo>
                  <a:pt x="72009" y="67183"/>
                </a:lnTo>
                <a:lnTo>
                  <a:pt x="78740" y="52959"/>
                </a:lnTo>
                <a:lnTo>
                  <a:pt x="81407" y="37465"/>
                </a:lnTo>
                <a:lnTo>
                  <a:pt x="76962" y="22098"/>
                </a:lnTo>
                <a:lnTo>
                  <a:pt x="66929" y="9525"/>
                </a:lnTo>
                <a:lnTo>
                  <a:pt x="51308" y="0"/>
                </a:lnTo>
                <a:close/>
              </a:path>
            </a:pathLst>
          </a:custGeom>
          <a:solidFill>
            <a:srgbClr val="D9D9D9"/>
          </a:solidFill>
        </p:spPr>
        <p:txBody>
          <a:bodyPr wrap="square" lIns="0" tIns="0" rIns="0" bIns="0" rtlCol="0"/>
          <a:lstStyle/>
          <a:p>
            <a:endParaRPr/>
          </a:p>
        </p:txBody>
      </p:sp>
      <p:sp>
        <p:nvSpPr>
          <p:cNvPr id="44" name="object 44"/>
          <p:cNvSpPr/>
          <p:nvPr/>
        </p:nvSpPr>
        <p:spPr>
          <a:xfrm>
            <a:off x="8395462" y="1473454"/>
            <a:ext cx="81914" cy="81915"/>
          </a:xfrm>
          <a:custGeom>
            <a:avLst/>
            <a:gdLst/>
            <a:ahLst/>
            <a:cxnLst/>
            <a:rect l="l" t="t" r="r" b="b"/>
            <a:pathLst>
              <a:path w="81915" h="81915">
                <a:moveTo>
                  <a:pt x="51308" y="0"/>
                </a:moveTo>
                <a:lnTo>
                  <a:pt x="9398" y="14605"/>
                </a:lnTo>
                <a:lnTo>
                  <a:pt x="0" y="44323"/>
                </a:lnTo>
                <a:lnTo>
                  <a:pt x="4445" y="59690"/>
                </a:lnTo>
                <a:lnTo>
                  <a:pt x="14351" y="72262"/>
                </a:lnTo>
                <a:lnTo>
                  <a:pt x="28575" y="78994"/>
                </a:lnTo>
                <a:lnTo>
                  <a:pt x="44069" y="81661"/>
                </a:lnTo>
                <a:lnTo>
                  <a:pt x="59436" y="77216"/>
                </a:lnTo>
                <a:lnTo>
                  <a:pt x="72009" y="67183"/>
                </a:lnTo>
                <a:lnTo>
                  <a:pt x="78740" y="52959"/>
                </a:lnTo>
                <a:lnTo>
                  <a:pt x="81407" y="37465"/>
                </a:lnTo>
                <a:lnTo>
                  <a:pt x="76962" y="22098"/>
                </a:lnTo>
                <a:lnTo>
                  <a:pt x="66929" y="9525"/>
                </a:lnTo>
                <a:lnTo>
                  <a:pt x="51308" y="0"/>
                </a:lnTo>
                <a:close/>
              </a:path>
            </a:pathLst>
          </a:custGeom>
          <a:solidFill>
            <a:srgbClr val="D9D9D9"/>
          </a:solidFill>
        </p:spPr>
        <p:txBody>
          <a:bodyPr wrap="square" lIns="0" tIns="0" rIns="0" bIns="0" rtlCol="0"/>
          <a:lstStyle/>
          <a:p>
            <a:endParaRPr/>
          </a:p>
        </p:txBody>
      </p:sp>
      <p:sp>
        <p:nvSpPr>
          <p:cNvPr id="45" name="object 45"/>
          <p:cNvSpPr/>
          <p:nvPr/>
        </p:nvSpPr>
        <p:spPr>
          <a:xfrm>
            <a:off x="8059040" y="1367663"/>
            <a:ext cx="74931" cy="74930"/>
          </a:xfrm>
          <a:custGeom>
            <a:avLst/>
            <a:gdLst/>
            <a:ahLst/>
            <a:cxnLst/>
            <a:rect l="l" t="t" r="r" b="b"/>
            <a:pathLst>
              <a:path w="74929" h="74930">
                <a:moveTo>
                  <a:pt x="31876" y="0"/>
                </a:moveTo>
                <a:lnTo>
                  <a:pt x="19303" y="2921"/>
                </a:lnTo>
                <a:lnTo>
                  <a:pt x="6730" y="12953"/>
                </a:lnTo>
                <a:lnTo>
                  <a:pt x="0" y="27177"/>
                </a:lnTo>
                <a:lnTo>
                  <a:pt x="126" y="41275"/>
                </a:lnTo>
                <a:lnTo>
                  <a:pt x="3175" y="53848"/>
                </a:lnTo>
                <a:lnTo>
                  <a:pt x="13207" y="66294"/>
                </a:lnTo>
                <a:lnTo>
                  <a:pt x="23113" y="71754"/>
                </a:lnTo>
                <a:lnTo>
                  <a:pt x="38607" y="74422"/>
                </a:lnTo>
                <a:lnTo>
                  <a:pt x="53975" y="69976"/>
                </a:lnTo>
                <a:lnTo>
                  <a:pt x="63753" y="61340"/>
                </a:lnTo>
                <a:lnTo>
                  <a:pt x="70611" y="47244"/>
                </a:lnTo>
                <a:lnTo>
                  <a:pt x="74549" y="34544"/>
                </a:lnTo>
                <a:lnTo>
                  <a:pt x="70103" y="19050"/>
                </a:lnTo>
                <a:lnTo>
                  <a:pt x="61594" y="9398"/>
                </a:lnTo>
                <a:lnTo>
                  <a:pt x="47370" y="2539"/>
                </a:lnTo>
                <a:lnTo>
                  <a:pt x="31876" y="0"/>
                </a:lnTo>
                <a:close/>
              </a:path>
            </a:pathLst>
          </a:custGeom>
          <a:solidFill>
            <a:srgbClr val="D9D9D9"/>
          </a:solidFill>
        </p:spPr>
        <p:txBody>
          <a:bodyPr wrap="square" lIns="0" tIns="0" rIns="0" bIns="0" rtlCol="0"/>
          <a:lstStyle/>
          <a:p>
            <a:endParaRPr/>
          </a:p>
        </p:txBody>
      </p:sp>
      <p:sp>
        <p:nvSpPr>
          <p:cNvPr id="46" name="object 46"/>
          <p:cNvSpPr/>
          <p:nvPr/>
        </p:nvSpPr>
        <p:spPr>
          <a:xfrm>
            <a:off x="8059040" y="1367663"/>
            <a:ext cx="74931" cy="74930"/>
          </a:xfrm>
          <a:custGeom>
            <a:avLst/>
            <a:gdLst/>
            <a:ahLst/>
            <a:cxnLst/>
            <a:rect l="l" t="t" r="r" b="b"/>
            <a:pathLst>
              <a:path w="74929" h="74930">
                <a:moveTo>
                  <a:pt x="31876" y="0"/>
                </a:moveTo>
                <a:lnTo>
                  <a:pt x="19303" y="2921"/>
                </a:lnTo>
                <a:lnTo>
                  <a:pt x="6730" y="12953"/>
                </a:lnTo>
                <a:lnTo>
                  <a:pt x="0" y="27177"/>
                </a:lnTo>
                <a:lnTo>
                  <a:pt x="126" y="41275"/>
                </a:lnTo>
                <a:lnTo>
                  <a:pt x="3175" y="53848"/>
                </a:lnTo>
                <a:lnTo>
                  <a:pt x="13207" y="66294"/>
                </a:lnTo>
                <a:lnTo>
                  <a:pt x="23113" y="71754"/>
                </a:lnTo>
                <a:lnTo>
                  <a:pt x="38607" y="74422"/>
                </a:lnTo>
                <a:lnTo>
                  <a:pt x="53975" y="69976"/>
                </a:lnTo>
                <a:lnTo>
                  <a:pt x="63753" y="61340"/>
                </a:lnTo>
                <a:lnTo>
                  <a:pt x="70611" y="47244"/>
                </a:lnTo>
                <a:lnTo>
                  <a:pt x="74549" y="34544"/>
                </a:lnTo>
                <a:lnTo>
                  <a:pt x="70103" y="19050"/>
                </a:lnTo>
                <a:lnTo>
                  <a:pt x="61594" y="9398"/>
                </a:lnTo>
                <a:lnTo>
                  <a:pt x="47370" y="2539"/>
                </a:lnTo>
                <a:lnTo>
                  <a:pt x="31876" y="0"/>
                </a:lnTo>
                <a:close/>
              </a:path>
            </a:pathLst>
          </a:custGeom>
          <a:solidFill>
            <a:srgbClr val="D9D9D9"/>
          </a:solidFill>
        </p:spPr>
        <p:txBody>
          <a:bodyPr wrap="square" lIns="0" tIns="0" rIns="0" bIns="0" rtlCol="0"/>
          <a:lstStyle/>
          <a:p>
            <a:endParaRPr/>
          </a:p>
        </p:txBody>
      </p:sp>
      <p:sp>
        <p:nvSpPr>
          <p:cNvPr id="47" name="object 47"/>
          <p:cNvSpPr/>
          <p:nvPr/>
        </p:nvSpPr>
        <p:spPr>
          <a:xfrm>
            <a:off x="9297034" y="3099943"/>
            <a:ext cx="161925" cy="161925"/>
          </a:xfrm>
          <a:custGeom>
            <a:avLst/>
            <a:gdLst/>
            <a:ahLst/>
            <a:cxnLst/>
            <a:rect l="l" t="t" r="r" b="b"/>
            <a:pathLst>
              <a:path w="161925" h="161925">
                <a:moveTo>
                  <a:pt x="89026" y="0"/>
                </a:moveTo>
                <a:lnTo>
                  <a:pt x="46990" y="7620"/>
                </a:lnTo>
                <a:lnTo>
                  <a:pt x="12192" y="36322"/>
                </a:lnTo>
                <a:lnTo>
                  <a:pt x="0" y="67437"/>
                </a:lnTo>
                <a:lnTo>
                  <a:pt x="254" y="81534"/>
                </a:lnTo>
                <a:lnTo>
                  <a:pt x="9271" y="119253"/>
                </a:lnTo>
                <a:lnTo>
                  <a:pt x="34925" y="148462"/>
                </a:lnTo>
                <a:lnTo>
                  <a:pt x="70358" y="161925"/>
                </a:lnTo>
                <a:lnTo>
                  <a:pt x="98425" y="161544"/>
                </a:lnTo>
                <a:lnTo>
                  <a:pt x="126365" y="147066"/>
                </a:lnTo>
                <a:lnTo>
                  <a:pt x="138811" y="137033"/>
                </a:lnTo>
                <a:lnTo>
                  <a:pt x="147066" y="125730"/>
                </a:lnTo>
                <a:lnTo>
                  <a:pt x="153924" y="111506"/>
                </a:lnTo>
                <a:lnTo>
                  <a:pt x="160782" y="97409"/>
                </a:lnTo>
                <a:lnTo>
                  <a:pt x="151511" y="45466"/>
                </a:lnTo>
                <a:lnTo>
                  <a:pt x="125730" y="16383"/>
                </a:lnTo>
                <a:lnTo>
                  <a:pt x="114426" y="8128"/>
                </a:lnTo>
                <a:lnTo>
                  <a:pt x="89026" y="0"/>
                </a:lnTo>
                <a:close/>
              </a:path>
            </a:pathLst>
          </a:custGeom>
          <a:solidFill>
            <a:srgbClr val="D9D9D9"/>
          </a:solidFill>
        </p:spPr>
        <p:txBody>
          <a:bodyPr wrap="square" lIns="0" tIns="0" rIns="0" bIns="0" rtlCol="0"/>
          <a:lstStyle/>
          <a:p>
            <a:endParaRPr/>
          </a:p>
        </p:txBody>
      </p:sp>
      <p:sp>
        <p:nvSpPr>
          <p:cNvPr id="48" name="object 48"/>
          <p:cNvSpPr/>
          <p:nvPr/>
        </p:nvSpPr>
        <p:spPr>
          <a:xfrm>
            <a:off x="9297034" y="3099943"/>
            <a:ext cx="161925" cy="161925"/>
          </a:xfrm>
          <a:custGeom>
            <a:avLst/>
            <a:gdLst/>
            <a:ahLst/>
            <a:cxnLst/>
            <a:rect l="l" t="t" r="r" b="b"/>
            <a:pathLst>
              <a:path w="161925" h="161925">
                <a:moveTo>
                  <a:pt x="89026" y="0"/>
                </a:moveTo>
                <a:lnTo>
                  <a:pt x="46990" y="7620"/>
                </a:lnTo>
                <a:lnTo>
                  <a:pt x="12192" y="36322"/>
                </a:lnTo>
                <a:lnTo>
                  <a:pt x="0" y="67437"/>
                </a:lnTo>
                <a:lnTo>
                  <a:pt x="254" y="81534"/>
                </a:lnTo>
                <a:lnTo>
                  <a:pt x="9271" y="119253"/>
                </a:lnTo>
                <a:lnTo>
                  <a:pt x="34925" y="148462"/>
                </a:lnTo>
                <a:lnTo>
                  <a:pt x="70358" y="161925"/>
                </a:lnTo>
                <a:lnTo>
                  <a:pt x="98425" y="161544"/>
                </a:lnTo>
                <a:lnTo>
                  <a:pt x="126365" y="147066"/>
                </a:lnTo>
                <a:lnTo>
                  <a:pt x="138811" y="137033"/>
                </a:lnTo>
                <a:lnTo>
                  <a:pt x="147066" y="125730"/>
                </a:lnTo>
                <a:lnTo>
                  <a:pt x="153924" y="111506"/>
                </a:lnTo>
                <a:lnTo>
                  <a:pt x="160782" y="97409"/>
                </a:lnTo>
                <a:lnTo>
                  <a:pt x="151511" y="45466"/>
                </a:lnTo>
                <a:lnTo>
                  <a:pt x="125730" y="16383"/>
                </a:lnTo>
                <a:lnTo>
                  <a:pt x="114426" y="8128"/>
                </a:lnTo>
                <a:lnTo>
                  <a:pt x="89026" y="0"/>
                </a:lnTo>
                <a:close/>
              </a:path>
            </a:pathLst>
          </a:custGeom>
          <a:solidFill>
            <a:srgbClr val="D9D9D9"/>
          </a:solidFill>
        </p:spPr>
        <p:txBody>
          <a:bodyPr wrap="square" lIns="0" tIns="0" rIns="0" bIns="0" rtlCol="0"/>
          <a:lstStyle/>
          <a:p>
            <a:endParaRPr/>
          </a:p>
        </p:txBody>
      </p:sp>
      <p:sp>
        <p:nvSpPr>
          <p:cNvPr id="49" name="object 49"/>
          <p:cNvSpPr/>
          <p:nvPr/>
        </p:nvSpPr>
        <p:spPr>
          <a:xfrm>
            <a:off x="9317102" y="3411854"/>
            <a:ext cx="145415" cy="145415"/>
          </a:xfrm>
          <a:custGeom>
            <a:avLst/>
            <a:gdLst/>
            <a:ahLst/>
            <a:cxnLst/>
            <a:rect l="l" t="t" r="r" b="b"/>
            <a:pathLst>
              <a:path w="145415" h="145414">
                <a:moveTo>
                  <a:pt x="82042" y="0"/>
                </a:moveTo>
                <a:lnTo>
                  <a:pt x="42672" y="6223"/>
                </a:lnTo>
                <a:lnTo>
                  <a:pt x="10795" y="33400"/>
                </a:lnTo>
                <a:lnTo>
                  <a:pt x="0" y="60198"/>
                </a:lnTo>
                <a:lnTo>
                  <a:pt x="126" y="74295"/>
                </a:lnTo>
                <a:lnTo>
                  <a:pt x="14858" y="116205"/>
                </a:lnTo>
                <a:lnTo>
                  <a:pt x="53213" y="142367"/>
                </a:lnTo>
                <a:lnTo>
                  <a:pt x="75692" y="144907"/>
                </a:lnTo>
                <a:lnTo>
                  <a:pt x="89789" y="144653"/>
                </a:lnTo>
                <a:lnTo>
                  <a:pt x="124587" y="123062"/>
                </a:lnTo>
                <a:lnTo>
                  <a:pt x="145160" y="87630"/>
                </a:lnTo>
                <a:lnTo>
                  <a:pt x="144906" y="73533"/>
                </a:lnTo>
                <a:lnTo>
                  <a:pt x="131572" y="27432"/>
                </a:lnTo>
                <a:lnTo>
                  <a:pt x="93218" y="1270"/>
                </a:lnTo>
                <a:lnTo>
                  <a:pt x="82042" y="0"/>
                </a:lnTo>
                <a:close/>
              </a:path>
            </a:pathLst>
          </a:custGeom>
          <a:solidFill>
            <a:srgbClr val="D9D9D9"/>
          </a:solidFill>
        </p:spPr>
        <p:txBody>
          <a:bodyPr wrap="square" lIns="0" tIns="0" rIns="0" bIns="0" rtlCol="0"/>
          <a:lstStyle/>
          <a:p>
            <a:endParaRPr/>
          </a:p>
        </p:txBody>
      </p:sp>
      <p:sp>
        <p:nvSpPr>
          <p:cNvPr id="50" name="object 50"/>
          <p:cNvSpPr/>
          <p:nvPr/>
        </p:nvSpPr>
        <p:spPr>
          <a:xfrm>
            <a:off x="9317102" y="3411854"/>
            <a:ext cx="145415" cy="145415"/>
          </a:xfrm>
          <a:custGeom>
            <a:avLst/>
            <a:gdLst/>
            <a:ahLst/>
            <a:cxnLst/>
            <a:rect l="l" t="t" r="r" b="b"/>
            <a:pathLst>
              <a:path w="145415" h="145414">
                <a:moveTo>
                  <a:pt x="82042" y="0"/>
                </a:moveTo>
                <a:lnTo>
                  <a:pt x="42672" y="6223"/>
                </a:lnTo>
                <a:lnTo>
                  <a:pt x="10795" y="33400"/>
                </a:lnTo>
                <a:lnTo>
                  <a:pt x="0" y="60198"/>
                </a:lnTo>
                <a:lnTo>
                  <a:pt x="126" y="74295"/>
                </a:lnTo>
                <a:lnTo>
                  <a:pt x="14858" y="116205"/>
                </a:lnTo>
                <a:lnTo>
                  <a:pt x="53213" y="142367"/>
                </a:lnTo>
                <a:lnTo>
                  <a:pt x="75692" y="144907"/>
                </a:lnTo>
                <a:lnTo>
                  <a:pt x="89789" y="144653"/>
                </a:lnTo>
                <a:lnTo>
                  <a:pt x="124587" y="123062"/>
                </a:lnTo>
                <a:lnTo>
                  <a:pt x="145160" y="87630"/>
                </a:lnTo>
                <a:lnTo>
                  <a:pt x="144906" y="73533"/>
                </a:lnTo>
                <a:lnTo>
                  <a:pt x="131572" y="27432"/>
                </a:lnTo>
                <a:lnTo>
                  <a:pt x="93218" y="1270"/>
                </a:lnTo>
                <a:lnTo>
                  <a:pt x="82042" y="0"/>
                </a:lnTo>
                <a:close/>
              </a:path>
            </a:pathLst>
          </a:custGeom>
          <a:solidFill>
            <a:srgbClr val="D9D9D9"/>
          </a:solidFill>
        </p:spPr>
        <p:txBody>
          <a:bodyPr wrap="square" lIns="0" tIns="0" rIns="0" bIns="0" rtlCol="0"/>
          <a:lstStyle/>
          <a:p>
            <a:endParaRPr/>
          </a:p>
        </p:txBody>
      </p:sp>
      <p:sp>
        <p:nvSpPr>
          <p:cNvPr id="51" name="object 51"/>
          <p:cNvSpPr/>
          <p:nvPr/>
        </p:nvSpPr>
        <p:spPr>
          <a:xfrm>
            <a:off x="9285096" y="3720339"/>
            <a:ext cx="130810" cy="132715"/>
          </a:xfrm>
          <a:custGeom>
            <a:avLst/>
            <a:gdLst/>
            <a:ahLst/>
            <a:cxnLst/>
            <a:rect l="l" t="t" r="r" b="b"/>
            <a:pathLst>
              <a:path w="130809" h="132714">
                <a:moveTo>
                  <a:pt x="51053" y="254"/>
                </a:moveTo>
                <a:lnTo>
                  <a:pt x="16255" y="21843"/>
                </a:lnTo>
                <a:lnTo>
                  <a:pt x="0" y="65786"/>
                </a:lnTo>
                <a:lnTo>
                  <a:pt x="253" y="79756"/>
                </a:lnTo>
                <a:lnTo>
                  <a:pt x="4699" y="95123"/>
                </a:lnTo>
                <a:lnTo>
                  <a:pt x="17652" y="113284"/>
                </a:lnTo>
                <a:lnTo>
                  <a:pt x="37464" y="124206"/>
                </a:lnTo>
                <a:lnTo>
                  <a:pt x="55879" y="132334"/>
                </a:lnTo>
                <a:lnTo>
                  <a:pt x="68452" y="129412"/>
                </a:lnTo>
                <a:lnTo>
                  <a:pt x="81991" y="129412"/>
                </a:lnTo>
                <a:lnTo>
                  <a:pt x="90931" y="124841"/>
                </a:lnTo>
                <a:lnTo>
                  <a:pt x="102107" y="118999"/>
                </a:lnTo>
                <a:lnTo>
                  <a:pt x="121538" y="101854"/>
                </a:lnTo>
                <a:lnTo>
                  <a:pt x="125475" y="89154"/>
                </a:lnTo>
                <a:lnTo>
                  <a:pt x="129539" y="76454"/>
                </a:lnTo>
                <a:lnTo>
                  <a:pt x="121920" y="34417"/>
                </a:lnTo>
                <a:lnTo>
                  <a:pt x="93345" y="6731"/>
                </a:lnTo>
                <a:lnTo>
                  <a:pt x="76938" y="1524"/>
                </a:lnTo>
                <a:lnTo>
                  <a:pt x="62356" y="1524"/>
                </a:lnTo>
                <a:lnTo>
                  <a:pt x="51053" y="254"/>
                </a:lnTo>
                <a:close/>
              </a:path>
              <a:path w="130809" h="132714">
                <a:moveTo>
                  <a:pt x="81991" y="129412"/>
                </a:moveTo>
                <a:lnTo>
                  <a:pt x="68452" y="129412"/>
                </a:lnTo>
                <a:lnTo>
                  <a:pt x="79755" y="130556"/>
                </a:lnTo>
                <a:lnTo>
                  <a:pt x="81991" y="129412"/>
                </a:lnTo>
                <a:close/>
              </a:path>
              <a:path w="130809" h="132714">
                <a:moveTo>
                  <a:pt x="72135" y="0"/>
                </a:moveTo>
                <a:lnTo>
                  <a:pt x="62356" y="1524"/>
                </a:lnTo>
                <a:lnTo>
                  <a:pt x="76938" y="1524"/>
                </a:lnTo>
                <a:lnTo>
                  <a:pt x="72135" y="0"/>
                </a:lnTo>
                <a:close/>
              </a:path>
            </a:pathLst>
          </a:custGeom>
          <a:solidFill>
            <a:srgbClr val="D9D9D9"/>
          </a:solidFill>
        </p:spPr>
        <p:txBody>
          <a:bodyPr wrap="square" lIns="0" tIns="0" rIns="0" bIns="0" rtlCol="0"/>
          <a:lstStyle/>
          <a:p>
            <a:endParaRPr/>
          </a:p>
        </p:txBody>
      </p:sp>
      <p:sp>
        <p:nvSpPr>
          <p:cNvPr id="52" name="object 52"/>
          <p:cNvSpPr/>
          <p:nvPr/>
        </p:nvSpPr>
        <p:spPr>
          <a:xfrm>
            <a:off x="9285096" y="3720339"/>
            <a:ext cx="130810" cy="132715"/>
          </a:xfrm>
          <a:custGeom>
            <a:avLst/>
            <a:gdLst/>
            <a:ahLst/>
            <a:cxnLst/>
            <a:rect l="l" t="t" r="r" b="b"/>
            <a:pathLst>
              <a:path w="130809" h="132714">
                <a:moveTo>
                  <a:pt x="51053" y="254"/>
                </a:moveTo>
                <a:lnTo>
                  <a:pt x="16255" y="21843"/>
                </a:lnTo>
                <a:lnTo>
                  <a:pt x="0" y="65786"/>
                </a:lnTo>
                <a:lnTo>
                  <a:pt x="253" y="79756"/>
                </a:lnTo>
                <a:lnTo>
                  <a:pt x="4699" y="95123"/>
                </a:lnTo>
                <a:lnTo>
                  <a:pt x="17652" y="113284"/>
                </a:lnTo>
                <a:lnTo>
                  <a:pt x="37464" y="124206"/>
                </a:lnTo>
                <a:lnTo>
                  <a:pt x="55879" y="132334"/>
                </a:lnTo>
                <a:lnTo>
                  <a:pt x="68452" y="129412"/>
                </a:lnTo>
                <a:lnTo>
                  <a:pt x="81991" y="129412"/>
                </a:lnTo>
                <a:lnTo>
                  <a:pt x="90931" y="124841"/>
                </a:lnTo>
                <a:lnTo>
                  <a:pt x="102107" y="118999"/>
                </a:lnTo>
                <a:lnTo>
                  <a:pt x="121538" y="101854"/>
                </a:lnTo>
                <a:lnTo>
                  <a:pt x="125475" y="89154"/>
                </a:lnTo>
                <a:lnTo>
                  <a:pt x="129539" y="76454"/>
                </a:lnTo>
                <a:lnTo>
                  <a:pt x="121920" y="34417"/>
                </a:lnTo>
                <a:lnTo>
                  <a:pt x="93345" y="6731"/>
                </a:lnTo>
                <a:lnTo>
                  <a:pt x="76938" y="1524"/>
                </a:lnTo>
                <a:lnTo>
                  <a:pt x="62356" y="1524"/>
                </a:lnTo>
                <a:lnTo>
                  <a:pt x="51053" y="254"/>
                </a:lnTo>
                <a:close/>
              </a:path>
              <a:path w="130809" h="132714">
                <a:moveTo>
                  <a:pt x="81991" y="129412"/>
                </a:moveTo>
                <a:lnTo>
                  <a:pt x="68452" y="129412"/>
                </a:lnTo>
                <a:lnTo>
                  <a:pt x="79755" y="130556"/>
                </a:lnTo>
                <a:lnTo>
                  <a:pt x="81991" y="129412"/>
                </a:lnTo>
                <a:close/>
              </a:path>
              <a:path w="130809" h="132714">
                <a:moveTo>
                  <a:pt x="72135" y="0"/>
                </a:moveTo>
                <a:lnTo>
                  <a:pt x="62356" y="1524"/>
                </a:lnTo>
                <a:lnTo>
                  <a:pt x="76938" y="1524"/>
                </a:lnTo>
                <a:lnTo>
                  <a:pt x="72135" y="0"/>
                </a:lnTo>
                <a:close/>
              </a:path>
            </a:pathLst>
          </a:custGeom>
          <a:solidFill>
            <a:srgbClr val="D9D9D9"/>
          </a:solidFill>
        </p:spPr>
        <p:txBody>
          <a:bodyPr wrap="square" lIns="0" tIns="0" rIns="0" bIns="0" rtlCol="0"/>
          <a:lstStyle/>
          <a:p>
            <a:endParaRPr/>
          </a:p>
        </p:txBody>
      </p:sp>
      <p:sp>
        <p:nvSpPr>
          <p:cNvPr id="53" name="object 53"/>
          <p:cNvSpPr/>
          <p:nvPr/>
        </p:nvSpPr>
        <p:spPr>
          <a:xfrm>
            <a:off x="9198103" y="4016883"/>
            <a:ext cx="119380" cy="117475"/>
          </a:xfrm>
          <a:custGeom>
            <a:avLst/>
            <a:gdLst/>
            <a:ahLst/>
            <a:cxnLst/>
            <a:rect l="l" t="t" r="r" b="b"/>
            <a:pathLst>
              <a:path w="119379" h="117475">
                <a:moveTo>
                  <a:pt x="65150" y="0"/>
                </a:moveTo>
                <a:lnTo>
                  <a:pt x="24511" y="10541"/>
                </a:lnTo>
                <a:lnTo>
                  <a:pt x="1270" y="47371"/>
                </a:lnTo>
                <a:lnTo>
                  <a:pt x="0" y="58674"/>
                </a:lnTo>
                <a:lnTo>
                  <a:pt x="2921" y="71247"/>
                </a:lnTo>
                <a:lnTo>
                  <a:pt x="7366" y="86614"/>
                </a:lnTo>
                <a:lnTo>
                  <a:pt x="18923" y="101981"/>
                </a:lnTo>
                <a:lnTo>
                  <a:pt x="34544" y="111506"/>
                </a:lnTo>
                <a:lnTo>
                  <a:pt x="51434" y="116967"/>
                </a:lnTo>
                <a:lnTo>
                  <a:pt x="72517" y="116586"/>
                </a:lnTo>
                <a:lnTo>
                  <a:pt x="85090" y="113665"/>
                </a:lnTo>
                <a:lnTo>
                  <a:pt x="92075" y="106426"/>
                </a:lnTo>
                <a:lnTo>
                  <a:pt x="103250" y="100711"/>
                </a:lnTo>
                <a:lnTo>
                  <a:pt x="114173" y="80899"/>
                </a:lnTo>
                <a:lnTo>
                  <a:pt x="118237" y="68199"/>
                </a:lnTo>
                <a:lnTo>
                  <a:pt x="119379" y="56896"/>
                </a:lnTo>
                <a:lnTo>
                  <a:pt x="117855" y="47117"/>
                </a:lnTo>
                <a:lnTo>
                  <a:pt x="113411" y="31623"/>
                </a:lnTo>
                <a:lnTo>
                  <a:pt x="101980" y="16383"/>
                </a:lnTo>
                <a:lnTo>
                  <a:pt x="84963" y="3937"/>
                </a:lnTo>
                <a:lnTo>
                  <a:pt x="65150" y="0"/>
                </a:lnTo>
                <a:close/>
              </a:path>
            </a:pathLst>
          </a:custGeom>
          <a:solidFill>
            <a:srgbClr val="D9D9D9"/>
          </a:solidFill>
        </p:spPr>
        <p:txBody>
          <a:bodyPr wrap="square" lIns="0" tIns="0" rIns="0" bIns="0" rtlCol="0"/>
          <a:lstStyle/>
          <a:p>
            <a:endParaRPr/>
          </a:p>
        </p:txBody>
      </p:sp>
      <p:sp>
        <p:nvSpPr>
          <p:cNvPr id="54" name="object 54"/>
          <p:cNvSpPr/>
          <p:nvPr/>
        </p:nvSpPr>
        <p:spPr>
          <a:xfrm>
            <a:off x="9198103" y="4016883"/>
            <a:ext cx="119380" cy="117475"/>
          </a:xfrm>
          <a:custGeom>
            <a:avLst/>
            <a:gdLst/>
            <a:ahLst/>
            <a:cxnLst/>
            <a:rect l="l" t="t" r="r" b="b"/>
            <a:pathLst>
              <a:path w="119379" h="117475">
                <a:moveTo>
                  <a:pt x="65150" y="0"/>
                </a:moveTo>
                <a:lnTo>
                  <a:pt x="24511" y="10541"/>
                </a:lnTo>
                <a:lnTo>
                  <a:pt x="1270" y="47371"/>
                </a:lnTo>
                <a:lnTo>
                  <a:pt x="0" y="58674"/>
                </a:lnTo>
                <a:lnTo>
                  <a:pt x="2921" y="71247"/>
                </a:lnTo>
                <a:lnTo>
                  <a:pt x="7366" y="86614"/>
                </a:lnTo>
                <a:lnTo>
                  <a:pt x="18923" y="101981"/>
                </a:lnTo>
                <a:lnTo>
                  <a:pt x="34544" y="111506"/>
                </a:lnTo>
                <a:lnTo>
                  <a:pt x="51434" y="116967"/>
                </a:lnTo>
                <a:lnTo>
                  <a:pt x="72517" y="116586"/>
                </a:lnTo>
                <a:lnTo>
                  <a:pt x="85090" y="113665"/>
                </a:lnTo>
                <a:lnTo>
                  <a:pt x="92075" y="106426"/>
                </a:lnTo>
                <a:lnTo>
                  <a:pt x="103250" y="100711"/>
                </a:lnTo>
                <a:lnTo>
                  <a:pt x="114173" y="80899"/>
                </a:lnTo>
                <a:lnTo>
                  <a:pt x="118237" y="68199"/>
                </a:lnTo>
                <a:lnTo>
                  <a:pt x="119379" y="56896"/>
                </a:lnTo>
                <a:lnTo>
                  <a:pt x="117855" y="47117"/>
                </a:lnTo>
                <a:lnTo>
                  <a:pt x="113411" y="31623"/>
                </a:lnTo>
                <a:lnTo>
                  <a:pt x="101980" y="16383"/>
                </a:lnTo>
                <a:lnTo>
                  <a:pt x="84963" y="3937"/>
                </a:lnTo>
                <a:lnTo>
                  <a:pt x="65150" y="0"/>
                </a:lnTo>
                <a:close/>
              </a:path>
            </a:pathLst>
          </a:custGeom>
          <a:solidFill>
            <a:srgbClr val="D9D9D9"/>
          </a:solidFill>
        </p:spPr>
        <p:txBody>
          <a:bodyPr wrap="square" lIns="0" tIns="0" rIns="0" bIns="0" rtlCol="0"/>
          <a:lstStyle/>
          <a:p>
            <a:endParaRPr/>
          </a:p>
        </p:txBody>
      </p:sp>
      <p:sp>
        <p:nvSpPr>
          <p:cNvPr id="55" name="object 55"/>
          <p:cNvSpPr/>
          <p:nvPr/>
        </p:nvSpPr>
        <p:spPr>
          <a:xfrm>
            <a:off x="9064243" y="4291711"/>
            <a:ext cx="107314" cy="107314"/>
          </a:xfrm>
          <a:custGeom>
            <a:avLst/>
            <a:gdLst/>
            <a:ahLst/>
            <a:cxnLst/>
            <a:rect l="l" t="t" r="r" b="b"/>
            <a:pathLst>
              <a:path w="107315" h="107314">
                <a:moveTo>
                  <a:pt x="58292" y="0"/>
                </a:moveTo>
                <a:lnTo>
                  <a:pt x="41528" y="1650"/>
                </a:lnTo>
                <a:lnTo>
                  <a:pt x="31623" y="3175"/>
                </a:lnTo>
                <a:lnTo>
                  <a:pt x="21971" y="11811"/>
                </a:lnTo>
                <a:lnTo>
                  <a:pt x="13588" y="16128"/>
                </a:lnTo>
                <a:lnTo>
                  <a:pt x="8127" y="26034"/>
                </a:lnTo>
                <a:lnTo>
                  <a:pt x="5460" y="34543"/>
                </a:lnTo>
                <a:lnTo>
                  <a:pt x="0" y="44450"/>
                </a:lnTo>
                <a:lnTo>
                  <a:pt x="1524" y="54228"/>
                </a:lnTo>
                <a:lnTo>
                  <a:pt x="253" y="65531"/>
                </a:lnTo>
                <a:lnTo>
                  <a:pt x="6096" y="76707"/>
                </a:lnTo>
                <a:lnTo>
                  <a:pt x="17525" y="91947"/>
                </a:lnTo>
                <a:lnTo>
                  <a:pt x="28828" y="100202"/>
                </a:lnTo>
                <a:lnTo>
                  <a:pt x="45847" y="105663"/>
                </a:lnTo>
                <a:lnTo>
                  <a:pt x="64134" y="106806"/>
                </a:lnTo>
                <a:lnTo>
                  <a:pt x="83692" y="96646"/>
                </a:lnTo>
                <a:lnTo>
                  <a:pt x="90550" y="89534"/>
                </a:lnTo>
                <a:lnTo>
                  <a:pt x="97535" y="82422"/>
                </a:lnTo>
                <a:lnTo>
                  <a:pt x="102997" y="72516"/>
                </a:lnTo>
                <a:lnTo>
                  <a:pt x="105663" y="64007"/>
                </a:lnTo>
                <a:lnTo>
                  <a:pt x="106933" y="52705"/>
                </a:lnTo>
                <a:lnTo>
                  <a:pt x="105409" y="42925"/>
                </a:lnTo>
                <a:lnTo>
                  <a:pt x="100837" y="27558"/>
                </a:lnTo>
                <a:lnTo>
                  <a:pt x="90931" y="14986"/>
                </a:lnTo>
                <a:lnTo>
                  <a:pt x="75310" y="5333"/>
                </a:lnTo>
                <a:lnTo>
                  <a:pt x="58292" y="0"/>
                </a:lnTo>
                <a:close/>
              </a:path>
            </a:pathLst>
          </a:custGeom>
          <a:solidFill>
            <a:srgbClr val="D9D9D9"/>
          </a:solidFill>
        </p:spPr>
        <p:txBody>
          <a:bodyPr wrap="square" lIns="0" tIns="0" rIns="0" bIns="0" rtlCol="0"/>
          <a:lstStyle/>
          <a:p>
            <a:endParaRPr/>
          </a:p>
        </p:txBody>
      </p:sp>
      <p:sp>
        <p:nvSpPr>
          <p:cNvPr id="56" name="object 56"/>
          <p:cNvSpPr/>
          <p:nvPr/>
        </p:nvSpPr>
        <p:spPr>
          <a:xfrm>
            <a:off x="9064243" y="4291711"/>
            <a:ext cx="107314" cy="107314"/>
          </a:xfrm>
          <a:custGeom>
            <a:avLst/>
            <a:gdLst/>
            <a:ahLst/>
            <a:cxnLst/>
            <a:rect l="l" t="t" r="r" b="b"/>
            <a:pathLst>
              <a:path w="107315" h="107314">
                <a:moveTo>
                  <a:pt x="58292" y="0"/>
                </a:moveTo>
                <a:lnTo>
                  <a:pt x="41528" y="1650"/>
                </a:lnTo>
                <a:lnTo>
                  <a:pt x="31623" y="3175"/>
                </a:lnTo>
                <a:lnTo>
                  <a:pt x="21971" y="11811"/>
                </a:lnTo>
                <a:lnTo>
                  <a:pt x="13588" y="16128"/>
                </a:lnTo>
                <a:lnTo>
                  <a:pt x="8127" y="26034"/>
                </a:lnTo>
                <a:lnTo>
                  <a:pt x="5460" y="34543"/>
                </a:lnTo>
                <a:lnTo>
                  <a:pt x="0" y="44450"/>
                </a:lnTo>
                <a:lnTo>
                  <a:pt x="1524" y="54228"/>
                </a:lnTo>
                <a:lnTo>
                  <a:pt x="253" y="65531"/>
                </a:lnTo>
                <a:lnTo>
                  <a:pt x="6096" y="76707"/>
                </a:lnTo>
                <a:lnTo>
                  <a:pt x="17525" y="91947"/>
                </a:lnTo>
                <a:lnTo>
                  <a:pt x="28828" y="100202"/>
                </a:lnTo>
                <a:lnTo>
                  <a:pt x="45847" y="105663"/>
                </a:lnTo>
                <a:lnTo>
                  <a:pt x="64134" y="106806"/>
                </a:lnTo>
                <a:lnTo>
                  <a:pt x="83692" y="96646"/>
                </a:lnTo>
                <a:lnTo>
                  <a:pt x="90550" y="89534"/>
                </a:lnTo>
                <a:lnTo>
                  <a:pt x="97535" y="82422"/>
                </a:lnTo>
                <a:lnTo>
                  <a:pt x="102997" y="72516"/>
                </a:lnTo>
                <a:lnTo>
                  <a:pt x="105663" y="64007"/>
                </a:lnTo>
                <a:lnTo>
                  <a:pt x="106933" y="52705"/>
                </a:lnTo>
                <a:lnTo>
                  <a:pt x="105409" y="42925"/>
                </a:lnTo>
                <a:lnTo>
                  <a:pt x="100837" y="27558"/>
                </a:lnTo>
                <a:lnTo>
                  <a:pt x="90931" y="14986"/>
                </a:lnTo>
                <a:lnTo>
                  <a:pt x="75310" y="5333"/>
                </a:lnTo>
                <a:lnTo>
                  <a:pt x="58292" y="0"/>
                </a:lnTo>
                <a:close/>
              </a:path>
            </a:pathLst>
          </a:custGeom>
          <a:solidFill>
            <a:srgbClr val="D9D9D9"/>
          </a:solidFill>
        </p:spPr>
        <p:txBody>
          <a:bodyPr wrap="square" lIns="0" tIns="0" rIns="0" bIns="0" rtlCol="0"/>
          <a:lstStyle/>
          <a:p>
            <a:endParaRPr/>
          </a:p>
        </p:txBody>
      </p:sp>
      <p:sp>
        <p:nvSpPr>
          <p:cNvPr id="57" name="object 57"/>
          <p:cNvSpPr/>
          <p:nvPr/>
        </p:nvSpPr>
        <p:spPr>
          <a:xfrm>
            <a:off x="8882382" y="4537965"/>
            <a:ext cx="98424" cy="95885"/>
          </a:xfrm>
          <a:custGeom>
            <a:avLst/>
            <a:gdLst/>
            <a:ahLst/>
            <a:cxnLst/>
            <a:rect l="l" t="t" r="r" b="b"/>
            <a:pathLst>
              <a:path w="98425" h="95885">
                <a:moveTo>
                  <a:pt x="38608" y="0"/>
                </a:moveTo>
                <a:lnTo>
                  <a:pt x="21844" y="8636"/>
                </a:lnTo>
                <a:lnTo>
                  <a:pt x="8000" y="22860"/>
                </a:lnTo>
                <a:lnTo>
                  <a:pt x="2667" y="39878"/>
                </a:lnTo>
                <a:lnTo>
                  <a:pt x="0" y="48260"/>
                </a:lnTo>
                <a:lnTo>
                  <a:pt x="28701" y="90043"/>
                </a:lnTo>
                <a:lnTo>
                  <a:pt x="45593" y="95377"/>
                </a:lnTo>
                <a:lnTo>
                  <a:pt x="59690" y="95250"/>
                </a:lnTo>
                <a:lnTo>
                  <a:pt x="90297" y="72262"/>
                </a:lnTo>
                <a:lnTo>
                  <a:pt x="98298" y="46862"/>
                </a:lnTo>
                <a:lnTo>
                  <a:pt x="96774" y="37084"/>
                </a:lnTo>
                <a:lnTo>
                  <a:pt x="91059" y="25908"/>
                </a:lnTo>
                <a:lnTo>
                  <a:pt x="83820" y="11937"/>
                </a:lnTo>
                <a:lnTo>
                  <a:pt x="69596" y="5080"/>
                </a:lnTo>
                <a:lnTo>
                  <a:pt x="56896" y="1143"/>
                </a:lnTo>
                <a:lnTo>
                  <a:pt x="38608" y="0"/>
                </a:lnTo>
                <a:close/>
              </a:path>
            </a:pathLst>
          </a:custGeom>
          <a:solidFill>
            <a:srgbClr val="D9D9D9"/>
          </a:solidFill>
        </p:spPr>
        <p:txBody>
          <a:bodyPr wrap="square" lIns="0" tIns="0" rIns="0" bIns="0" rtlCol="0"/>
          <a:lstStyle/>
          <a:p>
            <a:endParaRPr/>
          </a:p>
        </p:txBody>
      </p:sp>
      <p:sp>
        <p:nvSpPr>
          <p:cNvPr id="58" name="object 58"/>
          <p:cNvSpPr/>
          <p:nvPr/>
        </p:nvSpPr>
        <p:spPr>
          <a:xfrm>
            <a:off x="8882382" y="4537965"/>
            <a:ext cx="98424" cy="95885"/>
          </a:xfrm>
          <a:custGeom>
            <a:avLst/>
            <a:gdLst/>
            <a:ahLst/>
            <a:cxnLst/>
            <a:rect l="l" t="t" r="r" b="b"/>
            <a:pathLst>
              <a:path w="98425" h="95885">
                <a:moveTo>
                  <a:pt x="38608" y="0"/>
                </a:moveTo>
                <a:lnTo>
                  <a:pt x="21844" y="8636"/>
                </a:lnTo>
                <a:lnTo>
                  <a:pt x="8000" y="22860"/>
                </a:lnTo>
                <a:lnTo>
                  <a:pt x="2667" y="39878"/>
                </a:lnTo>
                <a:lnTo>
                  <a:pt x="0" y="48260"/>
                </a:lnTo>
                <a:lnTo>
                  <a:pt x="28701" y="90043"/>
                </a:lnTo>
                <a:lnTo>
                  <a:pt x="45593" y="95377"/>
                </a:lnTo>
                <a:lnTo>
                  <a:pt x="59690" y="95250"/>
                </a:lnTo>
                <a:lnTo>
                  <a:pt x="90297" y="72262"/>
                </a:lnTo>
                <a:lnTo>
                  <a:pt x="98298" y="46862"/>
                </a:lnTo>
                <a:lnTo>
                  <a:pt x="96774" y="37084"/>
                </a:lnTo>
                <a:lnTo>
                  <a:pt x="91059" y="25908"/>
                </a:lnTo>
                <a:lnTo>
                  <a:pt x="83820" y="11937"/>
                </a:lnTo>
                <a:lnTo>
                  <a:pt x="69596" y="5080"/>
                </a:lnTo>
                <a:lnTo>
                  <a:pt x="56896" y="1143"/>
                </a:lnTo>
                <a:lnTo>
                  <a:pt x="38608" y="0"/>
                </a:lnTo>
                <a:close/>
              </a:path>
            </a:pathLst>
          </a:custGeom>
          <a:solidFill>
            <a:srgbClr val="D9D9D9"/>
          </a:solidFill>
        </p:spPr>
        <p:txBody>
          <a:bodyPr wrap="square" lIns="0" tIns="0" rIns="0" bIns="0" rtlCol="0"/>
          <a:lstStyle/>
          <a:p>
            <a:endParaRPr/>
          </a:p>
        </p:txBody>
      </p:sp>
      <p:sp>
        <p:nvSpPr>
          <p:cNvPr id="59" name="object 59"/>
          <p:cNvSpPr/>
          <p:nvPr/>
        </p:nvSpPr>
        <p:spPr>
          <a:xfrm>
            <a:off x="8664830" y="4749038"/>
            <a:ext cx="87630" cy="83185"/>
          </a:xfrm>
          <a:custGeom>
            <a:avLst/>
            <a:gdLst/>
            <a:ahLst/>
            <a:cxnLst/>
            <a:rect l="l" t="t" r="r" b="b"/>
            <a:pathLst>
              <a:path w="87629" h="83185">
                <a:moveTo>
                  <a:pt x="46990" y="0"/>
                </a:moveTo>
                <a:lnTo>
                  <a:pt x="6476" y="17525"/>
                </a:lnTo>
                <a:lnTo>
                  <a:pt x="0" y="52705"/>
                </a:lnTo>
                <a:lnTo>
                  <a:pt x="4318" y="61087"/>
                </a:lnTo>
                <a:lnTo>
                  <a:pt x="14350" y="73660"/>
                </a:lnTo>
                <a:lnTo>
                  <a:pt x="24256" y="79120"/>
                </a:lnTo>
                <a:lnTo>
                  <a:pt x="36956" y="83057"/>
                </a:lnTo>
                <a:lnTo>
                  <a:pt x="51053" y="82931"/>
                </a:lnTo>
                <a:lnTo>
                  <a:pt x="69215" y="76962"/>
                </a:lnTo>
                <a:lnTo>
                  <a:pt x="80264" y="64135"/>
                </a:lnTo>
                <a:lnTo>
                  <a:pt x="87122" y="50037"/>
                </a:lnTo>
                <a:lnTo>
                  <a:pt x="85471" y="33147"/>
                </a:lnTo>
                <a:lnTo>
                  <a:pt x="79628" y="22098"/>
                </a:lnTo>
                <a:lnTo>
                  <a:pt x="73914" y="10922"/>
                </a:lnTo>
                <a:lnTo>
                  <a:pt x="62484" y="2667"/>
                </a:lnTo>
                <a:lnTo>
                  <a:pt x="46990" y="0"/>
                </a:lnTo>
                <a:close/>
              </a:path>
            </a:pathLst>
          </a:custGeom>
          <a:solidFill>
            <a:srgbClr val="D9D9D9"/>
          </a:solidFill>
        </p:spPr>
        <p:txBody>
          <a:bodyPr wrap="square" lIns="0" tIns="0" rIns="0" bIns="0" rtlCol="0"/>
          <a:lstStyle/>
          <a:p>
            <a:endParaRPr/>
          </a:p>
        </p:txBody>
      </p:sp>
      <p:sp>
        <p:nvSpPr>
          <p:cNvPr id="60" name="object 60"/>
          <p:cNvSpPr/>
          <p:nvPr/>
        </p:nvSpPr>
        <p:spPr>
          <a:xfrm>
            <a:off x="8664830" y="4749038"/>
            <a:ext cx="87630" cy="83185"/>
          </a:xfrm>
          <a:custGeom>
            <a:avLst/>
            <a:gdLst/>
            <a:ahLst/>
            <a:cxnLst/>
            <a:rect l="l" t="t" r="r" b="b"/>
            <a:pathLst>
              <a:path w="87629" h="83185">
                <a:moveTo>
                  <a:pt x="46990" y="0"/>
                </a:moveTo>
                <a:lnTo>
                  <a:pt x="6476" y="17525"/>
                </a:lnTo>
                <a:lnTo>
                  <a:pt x="0" y="52705"/>
                </a:lnTo>
                <a:lnTo>
                  <a:pt x="4318" y="61087"/>
                </a:lnTo>
                <a:lnTo>
                  <a:pt x="14350" y="73660"/>
                </a:lnTo>
                <a:lnTo>
                  <a:pt x="24256" y="79120"/>
                </a:lnTo>
                <a:lnTo>
                  <a:pt x="36956" y="83057"/>
                </a:lnTo>
                <a:lnTo>
                  <a:pt x="51053" y="82931"/>
                </a:lnTo>
                <a:lnTo>
                  <a:pt x="69215" y="76962"/>
                </a:lnTo>
                <a:lnTo>
                  <a:pt x="80264" y="64135"/>
                </a:lnTo>
                <a:lnTo>
                  <a:pt x="87122" y="50037"/>
                </a:lnTo>
                <a:lnTo>
                  <a:pt x="85471" y="33147"/>
                </a:lnTo>
                <a:lnTo>
                  <a:pt x="79628" y="22098"/>
                </a:lnTo>
                <a:lnTo>
                  <a:pt x="73914" y="10922"/>
                </a:lnTo>
                <a:lnTo>
                  <a:pt x="62484" y="2667"/>
                </a:lnTo>
                <a:lnTo>
                  <a:pt x="46990" y="0"/>
                </a:lnTo>
                <a:close/>
              </a:path>
            </a:pathLst>
          </a:custGeom>
          <a:solidFill>
            <a:srgbClr val="D9D9D9"/>
          </a:solidFill>
        </p:spPr>
        <p:txBody>
          <a:bodyPr wrap="square" lIns="0" tIns="0" rIns="0" bIns="0" rtlCol="0"/>
          <a:lstStyle/>
          <a:p>
            <a:endParaRPr/>
          </a:p>
        </p:txBody>
      </p:sp>
      <p:sp>
        <p:nvSpPr>
          <p:cNvPr id="61" name="object 61"/>
          <p:cNvSpPr/>
          <p:nvPr/>
        </p:nvSpPr>
        <p:spPr>
          <a:xfrm>
            <a:off x="8411337" y="4914520"/>
            <a:ext cx="77470" cy="79375"/>
          </a:xfrm>
          <a:custGeom>
            <a:avLst/>
            <a:gdLst/>
            <a:ahLst/>
            <a:cxnLst/>
            <a:rect l="l" t="t" r="r" b="b"/>
            <a:pathLst>
              <a:path w="77470" h="79375">
                <a:moveTo>
                  <a:pt x="42926" y="0"/>
                </a:moveTo>
                <a:lnTo>
                  <a:pt x="6604" y="18795"/>
                </a:lnTo>
                <a:lnTo>
                  <a:pt x="0" y="47116"/>
                </a:lnTo>
                <a:lnTo>
                  <a:pt x="5842" y="58165"/>
                </a:lnTo>
                <a:lnTo>
                  <a:pt x="14351" y="67944"/>
                </a:lnTo>
                <a:lnTo>
                  <a:pt x="34290" y="78866"/>
                </a:lnTo>
                <a:lnTo>
                  <a:pt x="46863" y="75818"/>
                </a:lnTo>
                <a:lnTo>
                  <a:pt x="62230" y="71373"/>
                </a:lnTo>
                <a:lnTo>
                  <a:pt x="73279" y="58673"/>
                </a:lnTo>
                <a:lnTo>
                  <a:pt x="77343" y="45846"/>
                </a:lnTo>
                <a:lnTo>
                  <a:pt x="77089" y="31876"/>
                </a:lnTo>
                <a:lnTo>
                  <a:pt x="75565" y="22097"/>
                </a:lnTo>
                <a:lnTo>
                  <a:pt x="66929" y="12318"/>
                </a:lnTo>
                <a:lnTo>
                  <a:pt x="55626" y="4063"/>
                </a:lnTo>
                <a:lnTo>
                  <a:pt x="42926" y="0"/>
                </a:lnTo>
                <a:close/>
              </a:path>
            </a:pathLst>
          </a:custGeom>
          <a:solidFill>
            <a:srgbClr val="D9D9D9"/>
          </a:solidFill>
        </p:spPr>
        <p:txBody>
          <a:bodyPr wrap="square" lIns="0" tIns="0" rIns="0" bIns="0" rtlCol="0"/>
          <a:lstStyle/>
          <a:p>
            <a:endParaRPr/>
          </a:p>
        </p:txBody>
      </p:sp>
      <p:sp>
        <p:nvSpPr>
          <p:cNvPr id="62" name="object 62"/>
          <p:cNvSpPr/>
          <p:nvPr/>
        </p:nvSpPr>
        <p:spPr>
          <a:xfrm>
            <a:off x="8411337" y="4914520"/>
            <a:ext cx="77470" cy="79375"/>
          </a:xfrm>
          <a:custGeom>
            <a:avLst/>
            <a:gdLst/>
            <a:ahLst/>
            <a:cxnLst/>
            <a:rect l="l" t="t" r="r" b="b"/>
            <a:pathLst>
              <a:path w="77470" h="79375">
                <a:moveTo>
                  <a:pt x="42926" y="0"/>
                </a:moveTo>
                <a:lnTo>
                  <a:pt x="6604" y="18795"/>
                </a:lnTo>
                <a:lnTo>
                  <a:pt x="0" y="47116"/>
                </a:lnTo>
                <a:lnTo>
                  <a:pt x="5842" y="58165"/>
                </a:lnTo>
                <a:lnTo>
                  <a:pt x="14351" y="67944"/>
                </a:lnTo>
                <a:lnTo>
                  <a:pt x="34290" y="78866"/>
                </a:lnTo>
                <a:lnTo>
                  <a:pt x="46863" y="75818"/>
                </a:lnTo>
                <a:lnTo>
                  <a:pt x="62230" y="71373"/>
                </a:lnTo>
                <a:lnTo>
                  <a:pt x="73279" y="58673"/>
                </a:lnTo>
                <a:lnTo>
                  <a:pt x="77343" y="45846"/>
                </a:lnTo>
                <a:lnTo>
                  <a:pt x="77089" y="31876"/>
                </a:lnTo>
                <a:lnTo>
                  <a:pt x="75565" y="22097"/>
                </a:lnTo>
                <a:lnTo>
                  <a:pt x="66929" y="12318"/>
                </a:lnTo>
                <a:lnTo>
                  <a:pt x="55626" y="4063"/>
                </a:lnTo>
                <a:lnTo>
                  <a:pt x="42926" y="0"/>
                </a:lnTo>
                <a:close/>
              </a:path>
            </a:pathLst>
          </a:custGeom>
          <a:solidFill>
            <a:srgbClr val="D9D9D9"/>
          </a:solidFill>
        </p:spPr>
        <p:txBody>
          <a:bodyPr wrap="square" lIns="0" tIns="0" rIns="0" bIns="0" rtlCol="0"/>
          <a:lstStyle/>
          <a:p>
            <a:endParaRPr/>
          </a:p>
        </p:txBody>
      </p:sp>
      <p:sp>
        <p:nvSpPr>
          <p:cNvPr id="63" name="object 63"/>
          <p:cNvSpPr/>
          <p:nvPr/>
        </p:nvSpPr>
        <p:spPr>
          <a:xfrm>
            <a:off x="8134479" y="5034154"/>
            <a:ext cx="70485" cy="70485"/>
          </a:xfrm>
          <a:custGeom>
            <a:avLst/>
            <a:gdLst/>
            <a:ahLst/>
            <a:cxnLst/>
            <a:rect l="l" t="t" r="r" b="b"/>
            <a:pathLst>
              <a:path w="70484" h="70485">
                <a:moveTo>
                  <a:pt x="27686" y="0"/>
                </a:moveTo>
                <a:lnTo>
                  <a:pt x="16637" y="5842"/>
                </a:lnTo>
                <a:lnTo>
                  <a:pt x="8254" y="17145"/>
                </a:lnTo>
                <a:lnTo>
                  <a:pt x="0" y="28575"/>
                </a:lnTo>
                <a:lnTo>
                  <a:pt x="253" y="42545"/>
                </a:lnTo>
                <a:lnTo>
                  <a:pt x="4572" y="50927"/>
                </a:lnTo>
                <a:lnTo>
                  <a:pt x="13207" y="60706"/>
                </a:lnTo>
                <a:lnTo>
                  <a:pt x="20320" y="67564"/>
                </a:lnTo>
                <a:lnTo>
                  <a:pt x="42799" y="70104"/>
                </a:lnTo>
                <a:lnTo>
                  <a:pt x="56769" y="62865"/>
                </a:lnTo>
                <a:lnTo>
                  <a:pt x="66548" y="54229"/>
                </a:lnTo>
                <a:lnTo>
                  <a:pt x="70484" y="41529"/>
                </a:lnTo>
                <a:lnTo>
                  <a:pt x="70357" y="27432"/>
                </a:lnTo>
                <a:lnTo>
                  <a:pt x="66040" y="19050"/>
                </a:lnTo>
                <a:lnTo>
                  <a:pt x="61595" y="10795"/>
                </a:lnTo>
                <a:lnTo>
                  <a:pt x="50292" y="2540"/>
                </a:lnTo>
                <a:lnTo>
                  <a:pt x="27686" y="0"/>
                </a:lnTo>
                <a:close/>
              </a:path>
            </a:pathLst>
          </a:custGeom>
          <a:solidFill>
            <a:srgbClr val="D9D9D9"/>
          </a:solidFill>
        </p:spPr>
        <p:txBody>
          <a:bodyPr wrap="square" lIns="0" tIns="0" rIns="0" bIns="0" rtlCol="0"/>
          <a:lstStyle/>
          <a:p>
            <a:endParaRPr/>
          </a:p>
        </p:txBody>
      </p:sp>
      <p:sp>
        <p:nvSpPr>
          <p:cNvPr id="64" name="object 64"/>
          <p:cNvSpPr/>
          <p:nvPr/>
        </p:nvSpPr>
        <p:spPr>
          <a:xfrm>
            <a:off x="8134479" y="5034154"/>
            <a:ext cx="70485" cy="70485"/>
          </a:xfrm>
          <a:custGeom>
            <a:avLst/>
            <a:gdLst/>
            <a:ahLst/>
            <a:cxnLst/>
            <a:rect l="l" t="t" r="r" b="b"/>
            <a:pathLst>
              <a:path w="70484" h="70485">
                <a:moveTo>
                  <a:pt x="27686" y="0"/>
                </a:moveTo>
                <a:lnTo>
                  <a:pt x="16637" y="5842"/>
                </a:lnTo>
                <a:lnTo>
                  <a:pt x="8254" y="17145"/>
                </a:lnTo>
                <a:lnTo>
                  <a:pt x="0" y="28575"/>
                </a:lnTo>
                <a:lnTo>
                  <a:pt x="253" y="42545"/>
                </a:lnTo>
                <a:lnTo>
                  <a:pt x="4572" y="50927"/>
                </a:lnTo>
                <a:lnTo>
                  <a:pt x="13207" y="60706"/>
                </a:lnTo>
                <a:lnTo>
                  <a:pt x="20320" y="67564"/>
                </a:lnTo>
                <a:lnTo>
                  <a:pt x="42799" y="70104"/>
                </a:lnTo>
                <a:lnTo>
                  <a:pt x="56769" y="62865"/>
                </a:lnTo>
                <a:lnTo>
                  <a:pt x="66548" y="54229"/>
                </a:lnTo>
                <a:lnTo>
                  <a:pt x="70484" y="41529"/>
                </a:lnTo>
                <a:lnTo>
                  <a:pt x="70357" y="27432"/>
                </a:lnTo>
                <a:lnTo>
                  <a:pt x="66040" y="19050"/>
                </a:lnTo>
                <a:lnTo>
                  <a:pt x="61595" y="10795"/>
                </a:lnTo>
                <a:lnTo>
                  <a:pt x="50292" y="2540"/>
                </a:lnTo>
                <a:lnTo>
                  <a:pt x="27686" y="0"/>
                </a:lnTo>
                <a:close/>
              </a:path>
            </a:pathLst>
          </a:custGeom>
          <a:solidFill>
            <a:srgbClr val="D9D9D9"/>
          </a:solidFill>
        </p:spPr>
        <p:txBody>
          <a:bodyPr wrap="square" lIns="0" tIns="0" rIns="0" bIns="0" rtlCol="0"/>
          <a:lstStyle/>
          <a:p>
            <a:endParaRPr/>
          </a:p>
        </p:txBody>
      </p:sp>
      <p:sp>
        <p:nvSpPr>
          <p:cNvPr id="65" name="object 65"/>
          <p:cNvSpPr/>
          <p:nvPr/>
        </p:nvSpPr>
        <p:spPr>
          <a:xfrm>
            <a:off x="7843140" y="5103240"/>
            <a:ext cx="62230" cy="63500"/>
          </a:xfrm>
          <a:custGeom>
            <a:avLst/>
            <a:gdLst/>
            <a:ahLst/>
            <a:cxnLst/>
            <a:rect l="l" t="t" r="r" b="b"/>
            <a:pathLst>
              <a:path w="62229" h="63500">
                <a:moveTo>
                  <a:pt x="22097" y="0"/>
                </a:moveTo>
                <a:lnTo>
                  <a:pt x="10921" y="5714"/>
                </a:lnTo>
                <a:lnTo>
                  <a:pt x="4063" y="12953"/>
                </a:lnTo>
                <a:lnTo>
                  <a:pt x="0" y="25653"/>
                </a:lnTo>
                <a:lnTo>
                  <a:pt x="126" y="39623"/>
                </a:lnTo>
                <a:lnTo>
                  <a:pt x="3047" y="45211"/>
                </a:lnTo>
                <a:lnTo>
                  <a:pt x="7365" y="53593"/>
                </a:lnTo>
                <a:lnTo>
                  <a:pt x="17399" y="59054"/>
                </a:lnTo>
                <a:lnTo>
                  <a:pt x="25780" y="61721"/>
                </a:lnTo>
                <a:lnTo>
                  <a:pt x="37083" y="62991"/>
                </a:lnTo>
                <a:lnTo>
                  <a:pt x="48259" y="57276"/>
                </a:lnTo>
                <a:lnTo>
                  <a:pt x="57911" y="48640"/>
                </a:lnTo>
                <a:lnTo>
                  <a:pt x="61975" y="35940"/>
                </a:lnTo>
                <a:lnTo>
                  <a:pt x="58927" y="16255"/>
                </a:lnTo>
                <a:lnTo>
                  <a:pt x="51688" y="9397"/>
                </a:lnTo>
                <a:lnTo>
                  <a:pt x="44576" y="2412"/>
                </a:lnTo>
                <a:lnTo>
                  <a:pt x="33400" y="1269"/>
                </a:lnTo>
                <a:lnTo>
                  <a:pt x="22097" y="0"/>
                </a:lnTo>
                <a:close/>
              </a:path>
            </a:pathLst>
          </a:custGeom>
          <a:solidFill>
            <a:srgbClr val="D9D9D9"/>
          </a:solidFill>
        </p:spPr>
        <p:txBody>
          <a:bodyPr wrap="square" lIns="0" tIns="0" rIns="0" bIns="0" rtlCol="0"/>
          <a:lstStyle/>
          <a:p>
            <a:endParaRPr/>
          </a:p>
        </p:txBody>
      </p:sp>
      <p:sp>
        <p:nvSpPr>
          <p:cNvPr id="66" name="object 66"/>
          <p:cNvSpPr/>
          <p:nvPr/>
        </p:nvSpPr>
        <p:spPr>
          <a:xfrm>
            <a:off x="7843140" y="5103240"/>
            <a:ext cx="62230" cy="63500"/>
          </a:xfrm>
          <a:custGeom>
            <a:avLst/>
            <a:gdLst/>
            <a:ahLst/>
            <a:cxnLst/>
            <a:rect l="l" t="t" r="r" b="b"/>
            <a:pathLst>
              <a:path w="62229" h="63500">
                <a:moveTo>
                  <a:pt x="22097" y="0"/>
                </a:moveTo>
                <a:lnTo>
                  <a:pt x="10921" y="5714"/>
                </a:lnTo>
                <a:lnTo>
                  <a:pt x="4063" y="12953"/>
                </a:lnTo>
                <a:lnTo>
                  <a:pt x="0" y="25653"/>
                </a:lnTo>
                <a:lnTo>
                  <a:pt x="126" y="39623"/>
                </a:lnTo>
                <a:lnTo>
                  <a:pt x="3047" y="45211"/>
                </a:lnTo>
                <a:lnTo>
                  <a:pt x="7365" y="53593"/>
                </a:lnTo>
                <a:lnTo>
                  <a:pt x="17399" y="59054"/>
                </a:lnTo>
                <a:lnTo>
                  <a:pt x="25780" y="61721"/>
                </a:lnTo>
                <a:lnTo>
                  <a:pt x="37083" y="62991"/>
                </a:lnTo>
                <a:lnTo>
                  <a:pt x="48259" y="57276"/>
                </a:lnTo>
                <a:lnTo>
                  <a:pt x="57911" y="48640"/>
                </a:lnTo>
                <a:lnTo>
                  <a:pt x="61975" y="35940"/>
                </a:lnTo>
                <a:lnTo>
                  <a:pt x="58927" y="16255"/>
                </a:lnTo>
                <a:lnTo>
                  <a:pt x="51688" y="9397"/>
                </a:lnTo>
                <a:lnTo>
                  <a:pt x="44576" y="2412"/>
                </a:lnTo>
                <a:lnTo>
                  <a:pt x="33400" y="1269"/>
                </a:lnTo>
                <a:lnTo>
                  <a:pt x="22097" y="0"/>
                </a:lnTo>
                <a:close/>
              </a:path>
            </a:pathLst>
          </a:custGeom>
          <a:solidFill>
            <a:srgbClr val="D9D9D9"/>
          </a:solidFill>
        </p:spPr>
        <p:txBody>
          <a:bodyPr wrap="square" lIns="0" tIns="0" rIns="0" bIns="0" rtlCol="0"/>
          <a:lstStyle/>
          <a:p>
            <a:endParaRPr/>
          </a:p>
        </p:txBody>
      </p:sp>
      <p:sp>
        <p:nvSpPr>
          <p:cNvPr id="67" name="object 67"/>
          <p:cNvSpPr/>
          <p:nvPr/>
        </p:nvSpPr>
        <p:spPr>
          <a:xfrm>
            <a:off x="9230742" y="2804287"/>
            <a:ext cx="163830" cy="161925"/>
          </a:xfrm>
          <a:custGeom>
            <a:avLst/>
            <a:gdLst/>
            <a:ahLst/>
            <a:cxnLst/>
            <a:rect l="l" t="t" r="r" b="b"/>
            <a:pathLst>
              <a:path w="163829" h="161925">
                <a:moveTo>
                  <a:pt x="90424" y="0"/>
                </a:moveTo>
                <a:lnTo>
                  <a:pt x="34416" y="14986"/>
                </a:lnTo>
                <a:lnTo>
                  <a:pt x="6857" y="50418"/>
                </a:lnTo>
                <a:lnTo>
                  <a:pt x="0" y="64642"/>
                </a:lnTo>
                <a:lnTo>
                  <a:pt x="3301" y="98298"/>
                </a:lnTo>
                <a:lnTo>
                  <a:pt x="9270" y="116459"/>
                </a:lnTo>
                <a:lnTo>
                  <a:pt x="16509" y="130428"/>
                </a:lnTo>
                <a:lnTo>
                  <a:pt x="25018" y="140208"/>
                </a:lnTo>
                <a:lnTo>
                  <a:pt x="34925" y="145668"/>
                </a:lnTo>
                <a:lnTo>
                  <a:pt x="46354" y="153924"/>
                </a:lnTo>
                <a:lnTo>
                  <a:pt x="71754" y="161925"/>
                </a:lnTo>
                <a:lnTo>
                  <a:pt x="85851" y="161798"/>
                </a:lnTo>
                <a:lnTo>
                  <a:pt x="98425" y="158750"/>
                </a:lnTo>
                <a:lnTo>
                  <a:pt x="140334" y="137033"/>
                </a:lnTo>
                <a:lnTo>
                  <a:pt x="160781" y="94614"/>
                </a:lnTo>
                <a:lnTo>
                  <a:pt x="163322" y="79121"/>
                </a:lnTo>
                <a:lnTo>
                  <a:pt x="158876" y="63626"/>
                </a:lnTo>
                <a:lnTo>
                  <a:pt x="137159" y="21843"/>
                </a:lnTo>
                <a:lnTo>
                  <a:pt x="115824" y="8127"/>
                </a:lnTo>
                <a:lnTo>
                  <a:pt x="90424" y="0"/>
                </a:lnTo>
                <a:close/>
              </a:path>
            </a:pathLst>
          </a:custGeom>
          <a:solidFill>
            <a:srgbClr val="D9D9D9"/>
          </a:solidFill>
        </p:spPr>
        <p:txBody>
          <a:bodyPr wrap="square" lIns="0" tIns="0" rIns="0" bIns="0" rtlCol="0"/>
          <a:lstStyle/>
          <a:p>
            <a:endParaRPr/>
          </a:p>
        </p:txBody>
      </p:sp>
      <p:sp>
        <p:nvSpPr>
          <p:cNvPr id="68" name="object 68"/>
          <p:cNvSpPr/>
          <p:nvPr/>
        </p:nvSpPr>
        <p:spPr>
          <a:xfrm>
            <a:off x="9230742" y="2804287"/>
            <a:ext cx="163830" cy="161925"/>
          </a:xfrm>
          <a:custGeom>
            <a:avLst/>
            <a:gdLst/>
            <a:ahLst/>
            <a:cxnLst/>
            <a:rect l="l" t="t" r="r" b="b"/>
            <a:pathLst>
              <a:path w="163829" h="161925">
                <a:moveTo>
                  <a:pt x="90424" y="0"/>
                </a:moveTo>
                <a:lnTo>
                  <a:pt x="34416" y="14986"/>
                </a:lnTo>
                <a:lnTo>
                  <a:pt x="6857" y="50418"/>
                </a:lnTo>
                <a:lnTo>
                  <a:pt x="0" y="64642"/>
                </a:lnTo>
                <a:lnTo>
                  <a:pt x="3301" y="98298"/>
                </a:lnTo>
                <a:lnTo>
                  <a:pt x="9270" y="116459"/>
                </a:lnTo>
                <a:lnTo>
                  <a:pt x="16509" y="130428"/>
                </a:lnTo>
                <a:lnTo>
                  <a:pt x="25018" y="140208"/>
                </a:lnTo>
                <a:lnTo>
                  <a:pt x="34925" y="145668"/>
                </a:lnTo>
                <a:lnTo>
                  <a:pt x="46354" y="153924"/>
                </a:lnTo>
                <a:lnTo>
                  <a:pt x="71754" y="161925"/>
                </a:lnTo>
                <a:lnTo>
                  <a:pt x="85851" y="161798"/>
                </a:lnTo>
                <a:lnTo>
                  <a:pt x="98425" y="158750"/>
                </a:lnTo>
                <a:lnTo>
                  <a:pt x="140334" y="137033"/>
                </a:lnTo>
                <a:lnTo>
                  <a:pt x="160781" y="94614"/>
                </a:lnTo>
                <a:lnTo>
                  <a:pt x="163322" y="79121"/>
                </a:lnTo>
                <a:lnTo>
                  <a:pt x="158876" y="63626"/>
                </a:lnTo>
                <a:lnTo>
                  <a:pt x="137159" y="21843"/>
                </a:lnTo>
                <a:lnTo>
                  <a:pt x="115824" y="8127"/>
                </a:lnTo>
                <a:lnTo>
                  <a:pt x="90424" y="0"/>
                </a:lnTo>
                <a:close/>
              </a:path>
            </a:pathLst>
          </a:custGeom>
          <a:solidFill>
            <a:srgbClr val="D9D9D9"/>
          </a:solidFill>
        </p:spPr>
        <p:txBody>
          <a:bodyPr wrap="square" lIns="0" tIns="0" rIns="0" bIns="0" rtlCol="0"/>
          <a:lstStyle/>
          <a:p>
            <a:endParaRPr/>
          </a:p>
        </p:txBody>
      </p:sp>
      <p:sp>
        <p:nvSpPr>
          <p:cNvPr id="69" name="object 69"/>
          <p:cNvSpPr/>
          <p:nvPr/>
        </p:nvSpPr>
        <p:spPr>
          <a:xfrm>
            <a:off x="9122793" y="2530730"/>
            <a:ext cx="146685" cy="146050"/>
          </a:xfrm>
          <a:custGeom>
            <a:avLst/>
            <a:gdLst/>
            <a:ahLst/>
            <a:cxnLst/>
            <a:rect l="l" t="t" r="r" b="b"/>
            <a:pathLst>
              <a:path w="146684" h="146050">
                <a:moveTo>
                  <a:pt x="70611" y="0"/>
                </a:moveTo>
                <a:lnTo>
                  <a:pt x="31495" y="13208"/>
                </a:lnTo>
                <a:lnTo>
                  <a:pt x="5206" y="44576"/>
                </a:lnTo>
                <a:lnTo>
                  <a:pt x="2666" y="60071"/>
                </a:lnTo>
                <a:lnTo>
                  <a:pt x="0" y="75565"/>
                </a:lnTo>
                <a:lnTo>
                  <a:pt x="14731" y="117475"/>
                </a:lnTo>
                <a:lnTo>
                  <a:pt x="53085" y="143637"/>
                </a:lnTo>
                <a:lnTo>
                  <a:pt x="75564" y="146050"/>
                </a:lnTo>
                <a:lnTo>
                  <a:pt x="88264" y="143129"/>
                </a:lnTo>
                <a:lnTo>
                  <a:pt x="127253" y="122809"/>
                </a:lnTo>
                <a:lnTo>
                  <a:pt x="143636" y="85979"/>
                </a:lnTo>
                <a:lnTo>
                  <a:pt x="146176" y="70485"/>
                </a:lnTo>
                <a:lnTo>
                  <a:pt x="143128" y="57912"/>
                </a:lnTo>
                <a:lnTo>
                  <a:pt x="124332" y="21717"/>
                </a:lnTo>
                <a:lnTo>
                  <a:pt x="81914" y="1143"/>
                </a:lnTo>
                <a:lnTo>
                  <a:pt x="70611" y="0"/>
                </a:lnTo>
                <a:close/>
              </a:path>
            </a:pathLst>
          </a:custGeom>
          <a:solidFill>
            <a:srgbClr val="D9D9D9"/>
          </a:solidFill>
        </p:spPr>
        <p:txBody>
          <a:bodyPr wrap="square" lIns="0" tIns="0" rIns="0" bIns="0" rtlCol="0"/>
          <a:lstStyle/>
          <a:p>
            <a:endParaRPr/>
          </a:p>
        </p:txBody>
      </p:sp>
      <p:sp>
        <p:nvSpPr>
          <p:cNvPr id="70" name="object 70"/>
          <p:cNvSpPr/>
          <p:nvPr/>
        </p:nvSpPr>
        <p:spPr>
          <a:xfrm>
            <a:off x="9122793" y="2530730"/>
            <a:ext cx="146685" cy="146050"/>
          </a:xfrm>
          <a:custGeom>
            <a:avLst/>
            <a:gdLst/>
            <a:ahLst/>
            <a:cxnLst/>
            <a:rect l="l" t="t" r="r" b="b"/>
            <a:pathLst>
              <a:path w="146684" h="146050">
                <a:moveTo>
                  <a:pt x="70611" y="0"/>
                </a:moveTo>
                <a:lnTo>
                  <a:pt x="31495" y="13208"/>
                </a:lnTo>
                <a:lnTo>
                  <a:pt x="5206" y="44576"/>
                </a:lnTo>
                <a:lnTo>
                  <a:pt x="2666" y="60071"/>
                </a:lnTo>
                <a:lnTo>
                  <a:pt x="0" y="75565"/>
                </a:lnTo>
                <a:lnTo>
                  <a:pt x="14731" y="117475"/>
                </a:lnTo>
                <a:lnTo>
                  <a:pt x="53085" y="143637"/>
                </a:lnTo>
                <a:lnTo>
                  <a:pt x="75564" y="146050"/>
                </a:lnTo>
                <a:lnTo>
                  <a:pt x="88264" y="143129"/>
                </a:lnTo>
                <a:lnTo>
                  <a:pt x="127253" y="122809"/>
                </a:lnTo>
                <a:lnTo>
                  <a:pt x="143636" y="85979"/>
                </a:lnTo>
                <a:lnTo>
                  <a:pt x="146176" y="70485"/>
                </a:lnTo>
                <a:lnTo>
                  <a:pt x="143128" y="57912"/>
                </a:lnTo>
                <a:lnTo>
                  <a:pt x="124332" y="21717"/>
                </a:lnTo>
                <a:lnTo>
                  <a:pt x="81914" y="1143"/>
                </a:lnTo>
                <a:lnTo>
                  <a:pt x="70611" y="0"/>
                </a:lnTo>
                <a:close/>
              </a:path>
            </a:pathLst>
          </a:custGeom>
          <a:solidFill>
            <a:srgbClr val="D9D9D9"/>
          </a:solidFill>
        </p:spPr>
        <p:txBody>
          <a:bodyPr wrap="square" lIns="0" tIns="0" rIns="0" bIns="0" rtlCol="0"/>
          <a:lstStyle/>
          <a:p>
            <a:endParaRPr/>
          </a:p>
        </p:txBody>
      </p:sp>
      <p:sp>
        <p:nvSpPr>
          <p:cNvPr id="71" name="object 71"/>
          <p:cNvSpPr/>
          <p:nvPr/>
        </p:nvSpPr>
        <p:spPr>
          <a:xfrm>
            <a:off x="8967217" y="2281302"/>
            <a:ext cx="131444" cy="132715"/>
          </a:xfrm>
          <a:custGeom>
            <a:avLst/>
            <a:gdLst/>
            <a:ahLst/>
            <a:cxnLst/>
            <a:rect l="l" t="t" r="r" b="b"/>
            <a:pathLst>
              <a:path w="131445" h="132714">
                <a:moveTo>
                  <a:pt x="72135" y="0"/>
                </a:moveTo>
                <a:lnTo>
                  <a:pt x="62229" y="1650"/>
                </a:lnTo>
                <a:lnTo>
                  <a:pt x="52450" y="3175"/>
                </a:lnTo>
                <a:lnTo>
                  <a:pt x="39877" y="6096"/>
                </a:lnTo>
                <a:lnTo>
                  <a:pt x="10667" y="31876"/>
                </a:lnTo>
                <a:lnTo>
                  <a:pt x="0" y="65786"/>
                </a:lnTo>
                <a:lnTo>
                  <a:pt x="126" y="79883"/>
                </a:lnTo>
                <a:lnTo>
                  <a:pt x="37337" y="124333"/>
                </a:lnTo>
                <a:lnTo>
                  <a:pt x="69850" y="132207"/>
                </a:lnTo>
                <a:lnTo>
                  <a:pt x="79628" y="130683"/>
                </a:lnTo>
                <a:lnTo>
                  <a:pt x="92201" y="127635"/>
                </a:lnTo>
                <a:lnTo>
                  <a:pt x="101980" y="119125"/>
                </a:lnTo>
                <a:lnTo>
                  <a:pt x="111632" y="110489"/>
                </a:lnTo>
                <a:lnTo>
                  <a:pt x="121411" y="101981"/>
                </a:lnTo>
                <a:lnTo>
                  <a:pt x="125475" y="89281"/>
                </a:lnTo>
                <a:lnTo>
                  <a:pt x="130936" y="79248"/>
                </a:lnTo>
                <a:lnTo>
                  <a:pt x="130428" y="51181"/>
                </a:lnTo>
                <a:lnTo>
                  <a:pt x="123316" y="37211"/>
                </a:lnTo>
                <a:lnTo>
                  <a:pt x="110362" y="19176"/>
                </a:lnTo>
                <a:lnTo>
                  <a:pt x="93217" y="6731"/>
                </a:lnTo>
                <a:lnTo>
                  <a:pt x="72135" y="0"/>
                </a:lnTo>
                <a:close/>
              </a:path>
            </a:pathLst>
          </a:custGeom>
          <a:solidFill>
            <a:srgbClr val="D9D9D9"/>
          </a:solidFill>
        </p:spPr>
        <p:txBody>
          <a:bodyPr wrap="square" lIns="0" tIns="0" rIns="0" bIns="0" rtlCol="0"/>
          <a:lstStyle/>
          <a:p>
            <a:endParaRPr/>
          </a:p>
        </p:txBody>
      </p:sp>
      <p:sp>
        <p:nvSpPr>
          <p:cNvPr id="72" name="object 72"/>
          <p:cNvSpPr/>
          <p:nvPr/>
        </p:nvSpPr>
        <p:spPr>
          <a:xfrm>
            <a:off x="8967217" y="2281302"/>
            <a:ext cx="131444" cy="132715"/>
          </a:xfrm>
          <a:custGeom>
            <a:avLst/>
            <a:gdLst/>
            <a:ahLst/>
            <a:cxnLst/>
            <a:rect l="l" t="t" r="r" b="b"/>
            <a:pathLst>
              <a:path w="131445" h="132714">
                <a:moveTo>
                  <a:pt x="72135" y="0"/>
                </a:moveTo>
                <a:lnTo>
                  <a:pt x="62229" y="1650"/>
                </a:lnTo>
                <a:lnTo>
                  <a:pt x="52450" y="3175"/>
                </a:lnTo>
                <a:lnTo>
                  <a:pt x="39877" y="6096"/>
                </a:lnTo>
                <a:lnTo>
                  <a:pt x="10667" y="31876"/>
                </a:lnTo>
                <a:lnTo>
                  <a:pt x="0" y="65786"/>
                </a:lnTo>
                <a:lnTo>
                  <a:pt x="126" y="79883"/>
                </a:lnTo>
                <a:lnTo>
                  <a:pt x="37337" y="124333"/>
                </a:lnTo>
                <a:lnTo>
                  <a:pt x="69850" y="132207"/>
                </a:lnTo>
                <a:lnTo>
                  <a:pt x="79628" y="130683"/>
                </a:lnTo>
                <a:lnTo>
                  <a:pt x="92201" y="127635"/>
                </a:lnTo>
                <a:lnTo>
                  <a:pt x="101980" y="119125"/>
                </a:lnTo>
                <a:lnTo>
                  <a:pt x="111632" y="110489"/>
                </a:lnTo>
                <a:lnTo>
                  <a:pt x="121411" y="101981"/>
                </a:lnTo>
                <a:lnTo>
                  <a:pt x="125475" y="89281"/>
                </a:lnTo>
                <a:lnTo>
                  <a:pt x="130936" y="79248"/>
                </a:lnTo>
                <a:lnTo>
                  <a:pt x="130428" y="51181"/>
                </a:lnTo>
                <a:lnTo>
                  <a:pt x="123316" y="37211"/>
                </a:lnTo>
                <a:lnTo>
                  <a:pt x="110362" y="19176"/>
                </a:lnTo>
                <a:lnTo>
                  <a:pt x="93217" y="6731"/>
                </a:lnTo>
                <a:lnTo>
                  <a:pt x="72135" y="0"/>
                </a:lnTo>
                <a:close/>
              </a:path>
            </a:pathLst>
          </a:custGeom>
          <a:solidFill>
            <a:srgbClr val="D9D9D9"/>
          </a:solidFill>
        </p:spPr>
        <p:txBody>
          <a:bodyPr wrap="square" lIns="0" tIns="0" rIns="0" bIns="0" rtlCol="0"/>
          <a:lstStyle/>
          <a:p>
            <a:endParaRPr/>
          </a:p>
        </p:txBody>
      </p:sp>
      <p:sp>
        <p:nvSpPr>
          <p:cNvPr id="73" name="object 73"/>
          <p:cNvSpPr/>
          <p:nvPr/>
        </p:nvSpPr>
        <p:spPr>
          <a:xfrm>
            <a:off x="8768588" y="2065148"/>
            <a:ext cx="118109" cy="116839"/>
          </a:xfrm>
          <a:custGeom>
            <a:avLst/>
            <a:gdLst/>
            <a:ahLst/>
            <a:cxnLst/>
            <a:rect l="l" t="t" r="r" b="b"/>
            <a:pathLst>
              <a:path w="118109" h="116839">
                <a:moveTo>
                  <a:pt x="66547" y="0"/>
                </a:moveTo>
                <a:lnTo>
                  <a:pt x="25907" y="10413"/>
                </a:lnTo>
                <a:lnTo>
                  <a:pt x="0" y="69850"/>
                </a:lnTo>
                <a:lnTo>
                  <a:pt x="7238" y="83819"/>
                </a:lnTo>
                <a:lnTo>
                  <a:pt x="18795" y="99060"/>
                </a:lnTo>
                <a:lnTo>
                  <a:pt x="35813" y="111505"/>
                </a:lnTo>
                <a:lnTo>
                  <a:pt x="52704" y="116839"/>
                </a:lnTo>
                <a:lnTo>
                  <a:pt x="82168" y="112140"/>
                </a:lnTo>
                <a:lnTo>
                  <a:pt x="114045" y="77977"/>
                </a:lnTo>
                <a:lnTo>
                  <a:pt x="117982" y="58165"/>
                </a:lnTo>
                <a:lnTo>
                  <a:pt x="117728" y="44195"/>
                </a:lnTo>
                <a:lnTo>
                  <a:pt x="110489" y="30225"/>
                </a:lnTo>
                <a:lnTo>
                  <a:pt x="99059" y="14986"/>
                </a:lnTo>
                <a:lnTo>
                  <a:pt x="86232" y="3810"/>
                </a:lnTo>
                <a:lnTo>
                  <a:pt x="66547" y="0"/>
                </a:lnTo>
                <a:close/>
              </a:path>
            </a:pathLst>
          </a:custGeom>
          <a:solidFill>
            <a:srgbClr val="D9D9D9"/>
          </a:solidFill>
        </p:spPr>
        <p:txBody>
          <a:bodyPr wrap="square" lIns="0" tIns="0" rIns="0" bIns="0" rtlCol="0"/>
          <a:lstStyle/>
          <a:p>
            <a:endParaRPr/>
          </a:p>
        </p:txBody>
      </p:sp>
      <p:sp>
        <p:nvSpPr>
          <p:cNvPr id="74" name="object 74"/>
          <p:cNvSpPr/>
          <p:nvPr/>
        </p:nvSpPr>
        <p:spPr>
          <a:xfrm>
            <a:off x="8768588" y="2065148"/>
            <a:ext cx="118109" cy="116839"/>
          </a:xfrm>
          <a:custGeom>
            <a:avLst/>
            <a:gdLst/>
            <a:ahLst/>
            <a:cxnLst/>
            <a:rect l="l" t="t" r="r" b="b"/>
            <a:pathLst>
              <a:path w="118109" h="116839">
                <a:moveTo>
                  <a:pt x="66547" y="0"/>
                </a:moveTo>
                <a:lnTo>
                  <a:pt x="25907" y="10413"/>
                </a:lnTo>
                <a:lnTo>
                  <a:pt x="0" y="69850"/>
                </a:lnTo>
                <a:lnTo>
                  <a:pt x="7238" y="83819"/>
                </a:lnTo>
                <a:lnTo>
                  <a:pt x="18795" y="99060"/>
                </a:lnTo>
                <a:lnTo>
                  <a:pt x="35813" y="111505"/>
                </a:lnTo>
                <a:lnTo>
                  <a:pt x="52704" y="116839"/>
                </a:lnTo>
                <a:lnTo>
                  <a:pt x="82168" y="112140"/>
                </a:lnTo>
                <a:lnTo>
                  <a:pt x="114045" y="77977"/>
                </a:lnTo>
                <a:lnTo>
                  <a:pt x="117982" y="58165"/>
                </a:lnTo>
                <a:lnTo>
                  <a:pt x="117728" y="44195"/>
                </a:lnTo>
                <a:lnTo>
                  <a:pt x="110489" y="30225"/>
                </a:lnTo>
                <a:lnTo>
                  <a:pt x="99059" y="14986"/>
                </a:lnTo>
                <a:lnTo>
                  <a:pt x="86232" y="3810"/>
                </a:lnTo>
                <a:lnTo>
                  <a:pt x="66547" y="0"/>
                </a:lnTo>
                <a:close/>
              </a:path>
            </a:pathLst>
          </a:custGeom>
          <a:solidFill>
            <a:srgbClr val="D9D9D9"/>
          </a:solidFill>
        </p:spPr>
        <p:txBody>
          <a:bodyPr wrap="square" lIns="0" tIns="0" rIns="0" bIns="0" rtlCol="0"/>
          <a:lstStyle/>
          <a:p>
            <a:endParaRPr/>
          </a:p>
        </p:txBody>
      </p:sp>
      <p:sp>
        <p:nvSpPr>
          <p:cNvPr id="75" name="object 75"/>
          <p:cNvSpPr/>
          <p:nvPr/>
        </p:nvSpPr>
        <p:spPr>
          <a:xfrm>
            <a:off x="8533637" y="1884807"/>
            <a:ext cx="107314" cy="106680"/>
          </a:xfrm>
          <a:custGeom>
            <a:avLst/>
            <a:gdLst/>
            <a:ahLst/>
            <a:cxnLst/>
            <a:rect l="l" t="t" r="r" b="b"/>
            <a:pathLst>
              <a:path w="107315" h="106680">
                <a:moveTo>
                  <a:pt x="41528" y="0"/>
                </a:moveTo>
                <a:lnTo>
                  <a:pt x="21970" y="10159"/>
                </a:lnTo>
                <a:lnTo>
                  <a:pt x="15112" y="17271"/>
                </a:lnTo>
                <a:lnTo>
                  <a:pt x="8127" y="24383"/>
                </a:lnTo>
                <a:lnTo>
                  <a:pt x="5460" y="32892"/>
                </a:lnTo>
                <a:lnTo>
                  <a:pt x="0" y="42798"/>
                </a:lnTo>
                <a:lnTo>
                  <a:pt x="1523" y="52577"/>
                </a:lnTo>
                <a:lnTo>
                  <a:pt x="17525" y="90296"/>
                </a:lnTo>
                <a:lnTo>
                  <a:pt x="47370" y="106679"/>
                </a:lnTo>
                <a:lnTo>
                  <a:pt x="64134" y="105028"/>
                </a:lnTo>
                <a:lnTo>
                  <a:pt x="76707" y="102107"/>
                </a:lnTo>
                <a:lnTo>
                  <a:pt x="83692" y="94995"/>
                </a:lnTo>
                <a:lnTo>
                  <a:pt x="92075" y="90550"/>
                </a:lnTo>
                <a:lnTo>
                  <a:pt x="102996" y="70738"/>
                </a:lnTo>
                <a:lnTo>
                  <a:pt x="105663" y="62356"/>
                </a:lnTo>
                <a:lnTo>
                  <a:pt x="106933" y="51053"/>
                </a:lnTo>
                <a:lnTo>
                  <a:pt x="105409" y="41275"/>
                </a:lnTo>
                <a:lnTo>
                  <a:pt x="102361" y="28575"/>
                </a:lnTo>
                <a:lnTo>
                  <a:pt x="90931" y="13334"/>
                </a:lnTo>
                <a:lnTo>
                  <a:pt x="75310" y="3682"/>
                </a:lnTo>
                <a:lnTo>
                  <a:pt x="59816" y="1142"/>
                </a:lnTo>
                <a:lnTo>
                  <a:pt x="41528" y="0"/>
                </a:lnTo>
                <a:close/>
              </a:path>
            </a:pathLst>
          </a:custGeom>
          <a:solidFill>
            <a:srgbClr val="D9D9D9"/>
          </a:solidFill>
        </p:spPr>
        <p:txBody>
          <a:bodyPr wrap="square" lIns="0" tIns="0" rIns="0" bIns="0" rtlCol="0"/>
          <a:lstStyle/>
          <a:p>
            <a:endParaRPr/>
          </a:p>
        </p:txBody>
      </p:sp>
      <p:sp>
        <p:nvSpPr>
          <p:cNvPr id="76" name="object 76"/>
          <p:cNvSpPr/>
          <p:nvPr/>
        </p:nvSpPr>
        <p:spPr>
          <a:xfrm>
            <a:off x="8533637" y="1884807"/>
            <a:ext cx="107314" cy="106680"/>
          </a:xfrm>
          <a:custGeom>
            <a:avLst/>
            <a:gdLst/>
            <a:ahLst/>
            <a:cxnLst/>
            <a:rect l="l" t="t" r="r" b="b"/>
            <a:pathLst>
              <a:path w="107315" h="106680">
                <a:moveTo>
                  <a:pt x="41528" y="0"/>
                </a:moveTo>
                <a:lnTo>
                  <a:pt x="21970" y="10159"/>
                </a:lnTo>
                <a:lnTo>
                  <a:pt x="15112" y="17271"/>
                </a:lnTo>
                <a:lnTo>
                  <a:pt x="8127" y="24383"/>
                </a:lnTo>
                <a:lnTo>
                  <a:pt x="5460" y="32892"/>
                </a:lnTo>
                <a:lnTo>
                  <a:pt x="0" y="42798"/>
                </a:lnTo>
                <a:lnTo>
                  <a:pt x="1523" y="52577"/>
                </a:lnTo>
                <a:lnTo>
                  <a:pt x="17525" y="90296"/>
                </a:lnTo>
                <a:lnTo>
                  <a:pt x="47370" y="106679"/>
                </a:lnTo>
                <a:lnTo>
                  <a:pt x="64134" y="105028"/>
                </a:lnTo>
                <a:lnTo>
                  <a:pt x="76707" y="102107"/>
                </a:lnTo>
                <a:lnTo>
                  <a:pt x="83692" y="94995"/>
                </a:lnTo>
                <a:lnTo>
                  <a:pt x="92075" y="90550"/>
                </a:lnTo>
                <a:lnTo>
                  <a:pt x="102996" y="70738"/>
                </a:lnTo>
                <a:lnTo>
                  <a:pt x="105663" y="62356"/>
                </a:lnTo>
                <a:lnTo>
                  <a:pt x="106933" y="51053"/>
                </a:lnTo>
                <a:lnTo>
                  <a:pt x="105409" y="41275"/>
                </a:lnTo>
                <a:lnTo>
                  <a:pt x="102361" y="28575"/>
                </a:lnTo>
                <a:lnTo>
                  <a:pt x="90931" y="13334"/>
                </a:lnTo>
                <a:lnTo>
                  <a:pt x="75310" y="3682"/>
                </a:lnTo>
                <a:lnTo>
                  <a:pt x="59816" y="1142"/>
                </a:lnTo>
                <a:lnTo>
                  <a:pt x="41528" y="0"/>
                </a:lnTo>
                <a:close/>
              </a:path>
            </a:pathLst>
          </a:custGeom>
          <a:solidFill>
            <a:srgbClr val="D9D9D9"/>
          </a:solidFill>
        </p:spPr>
        <p:txBody>
          <a:bodyPr wrap="square" lIns="0" tIns="0" rIns="0" bIns="0" rtlCol="0"/>
          <a:lstStyle/>
          <a:p>
            <a:endParaRPr/>
          </a:p>
        </p:txBody>
      </p:sp>
      <p:sp>
        <p:nvSpPr>
          <p:cNvPr id="77" name="object 77"/>
          <p:cNvSpPr/>
          <p:nvPr/>
        </p:nvSpPr>
        <p:spPr>
          <a:xfrm>
            <a:off x="8270113" y="1749299"/>
            <a:ext cx="95885" cy="94615"/>
          </a:xfrm>
          <a:custGeom>
            <a:avLst/>
            <a:gdLst/>
            <a:ahLst/>
            <a:cxnLst/>
            <a:rect l="l" t="t" r="r" b="b"/>
            <a:pathLst>
              <a:path w="95884" h="94614">
                <a:moveTo>
                  <a:pt x="54228" y="0"/>
                </a:moveTo>
                <a:lnTo>
                  <a:pt x="8127" y="20447"/>
                </a:lnTo>
                <a:lnTo>
                  <a:pt x="0" y="38862"/>
                </a:lnTo>
                <a:lnTo>
                  <a:pt x="3047" y="58419"/>
                </a:lnTo>
                <a:lnTo>
                  <a:pt x="6095" y="71119"/>
                </a:lnTo>
                <a:lnTo>
                  <a:pt x="14604" y="80772"/>
                </a:lnTo>
                <a:lnTo>
                  <a:pt x="27431" y="91821"/>
                </a:lnTo>
                <a:lnTo>
                  <a:pt x="42925" y="94361"/>
                </a:lnTo>
                <a:lnTo>
                  <a:pt x="57022" y="94234"/>
                </a:lnTo>
                <a:lnTo>
                  <a:pt x="94487" y="57150"/>
                </a:lnTo>
                <a:lnTo>
                  <a:pt x="95630" y="45847"/>
                </a:lnTo>
                <a:lnTo>
                  <a:pt x="94106" y="36067"/>
                </a:lnTo>
                <a:lnTo>
                  <a:pt x="89788" y="27686"/>
                </a:lnTo>
                <a:lnTo>
                  <a:pt x="82550" y="13715"/>
                </a:lnTo>
                <a:lnTo>
                  <a:pt x="66928" y="4063"/>
                </a:lnTo>
                <a:lnTo>
                  <a:pt x="54228" y="0"/>
                </a:lnTo>
                <a:close/>
              </a:path>
            </a:pathLst>
          </a:custGeom>
          <a:solidFill>
            <a:srgbClr val="D9D9D9"/>
          </a:solidFill>
        </p:spPr>
        <p:txBody>
          <a:bodyPr wrap="square" lIns="0" tIns="0" rIns="0" bIns="0" rtlCol="0"/>
          <a:lstStyle/>
          <a:p>
            <a:endParaRPr/>
          </a:p>
        </p:txBody>
      </p:sp>
      <p:sp>
        <p:nvSpPr>
          <p:cNvPr id="78" name="object 78"/>
          <p:cNvSpPr/>
          <p:nvPr/>
        </p:nvSpPr>
        <p:spPr>
          <a:xfrm>
            <a:off x="8270113" y="1749299"/>
            <a:ext cx="95885" cy="94615"/>
          </a:xfrm>
          <a:custGeom>
            <a:avLst/>
            <a:gdLst/>
            <a:ahLst/>
            <a:cxnLst/>
            <a:rect l="l" t="t" r="r" b="b"/>
            <a:pathLst>
              <a:path w="95884" h="94614">
                <a:moveTo>
                  <a:pt x="54228" y="0"/>
                </a:moveTo>
                <a:lnTo>
                  <a:pt x="8127" y="20447"/>
                </a:lnTo>
                <a:lnTo>
                  <a:pt x="0" y="38862"/>
                </a:lnTo>
                <a:lnTo>
                  <a:pt x="3047" y="58419"/>
                </a:lnTo>
                <a:lnTo>
                  <a:pt x="6095" y="71119"/>
                </a:lnTo>
                <a:lnTo>
                  <a:pt x="14604" y="80772"/>
                </a:lnTo>
                <a:lnTo>
                  <a:pt x="27431" y="91821"/>
                </a:lnTo>
                <a:lnTo>
                  <a:pt x="42925" y="94361"/>
                </a:lnTo>
                <a:lnTo>
                  <a:pt x="57022" y="94234"/>
                </a:lnTo>
                <a:lnTo>
                  <a:pt x="94487" y="57150"/>
                </a:lnTo>
                <a:lnTo>
                  <a:pt x="95630" y="45847"/>
                </a:lnTo>
                <a:lnTo>
                  <a:pt x="94106" y="36067"/>
                </a:lnTo>
                <a:lnTo>
                  <a:pt x="89788" y="27686"/>
                </a:lnTo>
                <a:lnTo>
                  <a:pt x="82550" y="13715"/>
                </a:lnTo>
                <a:lnTo>
                  <a:pt x="66928" y="4063"/>
                </a:lnTo>
                <a:lnTo>
                  <a:pt x="54228" y="0"/>
                </a:lnTo>
                <a:close/>
              </a:path>
            </a:pathLst>
          </a:custGeom>
          <a:solidFill>
            <a:srgbClr val="D9D9D9"/>
          </a:solidFill>
        </p:spPr>
        <p:txBody>
          <a:bodyPr wrap="square" lIns="0" tIns="0" rIns="0" bIns="0" rtlCol="0"/>
          <a:lstStyle/>
          <a:p>
            <a:endParaRPr/>
          </a:p>
        </p:txBody>
      </p:sp>
      <p:sp>
        <p:nvSpPr>
          <p:cNvPr id="79" name="object 79"/>
          <p:cNvSpPr/>
          <p:nvPr/>
        </p:nvSpPr>
        <p:spPr>
          <a:xfrm>
            <a:off x="7986141" y="1662303"/>
            <a:ext cx="86360" cy="84455"/>
          </a:xfrm>
          <a:custGeom>
            <a:avLst/>
            <a:gdLst/>
            <a:ahLst/>
            <a:cxnLst/>
            <a:rect l="l" t="t" r="r" b="b"/>
            <a:pathLst>
              <a:path w="86359" h="84455">
                <a:moveTo>
                  <a:pt x="48767" y="0"/>
                </a:moveTo>
                <a:lnTo>
                  <a:pt x="31876" y="1650"/>
                </a:lnTo>
                <a:lnTo>
                  <a:pt x="17906" y="8889"/>
                </a:lnTo>
                <a:lnTo>
                  <a:pt x="5460" y="18923"/>
                </a:lnTo>
                <a:lnTo>
                  <a:pt x="0" y="35813"/>
                </a:lnTo>
                <a:lnTo>
                  <a:pt x="1650" y="52705"/>
                </a:lnTo>
                <a:lnTo>
                  <a:pt x="3301" y="62484"/>
                </a:lnTo>
                <a:lnTo>
                  <a:pt x="13334" y="75057"/>
                </a:lnTo>
                <a:lnTo>
                  <a:pt x="23240" y="80518"/>
                </a:lnTo>
                <a:lnTo>
                  <a:pt x="35940" y="84455"/>
                </a:lnTo>
                <a:lnTo>
                  <a:pt x="49910" y="84327"/>
                </a:lnTo>
                <a:lnTo>
                  <a:pt x="68199" y="78359"/>
                </a:lnTo>
                <a:lnTo>
                  <a:pt x="79248" y="65532"/>
                </a:lnTo>
                <a:lnTo>
                  <a:pt x="85978" y="51435"/>
                </a:lnTo>
                <a:lnTo>
                  <a:pt x="84327" y="34544"/>
                </a:lnTo>
                <a:lnTo>
                  <a:pt x="81406" y="21971"/>
                </a:lnTo>
                <a:lnTo>
                  <a:pt x="72770" y="12319"/>
                </a:lnTo>
                <a:lnTo>
                  <a:pt x="61467" y="4063"/>
                </a:lnTo>
                <a:lnTo>
                  <a:pt x="48767" y="0"/>
                </a:lnTo>
                <a:close/>
              </a:path>
            </a:pathLst>
          </a:custGeom>
          <a:solidFill>
            <a:srgbClr val="D9D9D9"/>
          </a:solidFill>
        </p:spPr>
        <p:txBody>
          <a:bodyPr wrap="square" lIns="0" tIns="0" rIns="0" bIns="0" rtlCol="0"/>
          <a:lstStyle/>
          <a:p>
            <a:endParaRPr/>
          </a:p>
        </p:txBody>
      </p:sp>
      <p:sp>
        <p:nvSpPr>
          <p:cNvPr id="80" name="object 80"/>
          <p:cNvSpPr/>
          <p:nvPr/>
        </p:nvSpPr>
        <p:spPr>
          <a:xfrm>
            <a:off x="7986141" y="1662303"/>
            <a:ext cx="86360" cy="84455"/>
          </a:xfrm>
          <a:custGeom>
            <a:avLst/>
            <a:gdLst/>
            <a:ahLst/>
            <a:cxnLst/>
            <a:rect l="l" t="t" r="r" b="b"/>
            <a:pathLst>
              <a:path w="86359" h="84455">
                <a:moveTo>
                  <a:pt x="48767" y="0"/>
                </a:moveTo>
                <a:lnTo>
                  <a:pt x="31876" y="1650"/>
                </a:lnTo>
                <a:lnTo>
                  <a:pt x="17906" y="8889"/>
                </a:lnTo>
                <a:lnTo>
                  <a:pt x="5460" y="18923"/>
                </a:lnTo>
                <a:lnTo>
                  <a:pt x="0" y="35813"/>
                </a:lnTo>
                <a:lnTo>
                  <a:pt x="1650" y="52705"/>
                </a:lnTo>
                <a:lnTo>
                  <a:pt x="3301" y="62484"/>
                </a:lnTo>
                <a:lnTo>
                  <a:pt x="13334" y="75057"/>
                </a:lnTo>
                <a:lnTo>
                  <a:pt x="23240" y="80518"/>
                </a:lnTo>
                <a:lnTo>
                  <a:pt x="35940" y="84455"/>
                </a:lnTo>
                <a:lnTo>
                  <a:pt x="49910" y="84327"/>
                </a:lnTo>
                <a:lnTo>
                  <a:pt x="68199" y="78359"/>
                </a:lnTo>
                <a:lnTo>
                  <a:pt x="79248" y="65532"/>
                </a:lnTo>
                <a:lnTo>
                  <a:pt x="85978" y="51435"/>
                </a:lnTo>
                <a:lnTo>
                  <a:pt x="84327" y="34544"/>
                </a:lnTo>
                <a:lnTo>
                  <a:pt x="81406" y="21971"/>
                </a:lnTo>
                <a:lnTo>
                  <a:pt x="72770" y="12319"/>
                </a:lnTo>
                <a:lnTo>
                  <a:pt x="61467" y="4063"/>
                </a:lnTo>
                <a:lnTo>
                  <a:pt x="48767" y="0"/>
                </a:lnTo>
                <a:close/>
              </a:path>
            </a:pathLst>
          </a:custGeom>
          <a:solidFill>
            <a:srgbClr val="D9D9D9"/>
          </a:solidFill>
        </p:spPr>
        <p:txBody>
          <a:bodyPr wrap="square" lIns="0" tIns="0" rIns="0" bIns="0" rtlCol="0"/>
          <a:lstStyle/>
          <a:p>
            <a:endParaRPr/>
          </a:p>
        </p:txBody>
      </p:sp>
      <p:sp>
        <p:nvSpPr>
          <p:cNvPr id="81" name="object 81"/>
          <p:cNvSpPr/>
          <p:nvPr/>
        </p:nvSpPr>
        <p:spPr>
          <a:xfrm>
            <a:off x="7688960" y="1627378"/>
            <a:ext cx="77470" cy="76200"/>
          </a:xfrm>
          <a:custGeom>
            <a:avLst/>
            <a:gdLst/>
            <a:ahLst/>
            <a:cxnLst/>
            <a:rect l="l" t="t" r="r" b="b"/>
            <a:pathLst>
              <a:path w="77470" h="76200">
                <a:moveTo>
                  <a:pt x="44577" y="0"/>
                </a:moveTo>
                <a:lnTo>
                  <a:pt x="30480" y="254"/>
                </a:lnTo>
                <a:lnTo>
                  <a:pt x="16510" y="7493"/>
                </a:lnTo>
                <a:lnTo>
                  <a:pt x="6858" y="16001"/>
                </a:lnTo>
                <a:lnTo>
                  <a:pt x="0" y="30225"/>
                </a:lnTo>
                <a:lnTo>
                  <a:pt x="1650" y="46989"/>
                </a:lnTo>
                <a:lnTo>
                  <a:pt x="3175" y="56896"/>
                </a:lnTo>
                <a:lnTo>
                  <a:pt x="11811" y="66548"/>
                </a:lnTo>
                <a:lnTo>
                  <a:pt x="21717" y="72009"/>
                </a:lnTo>
                <a:lnTo>
                  <a:pt x="34417" y="76073"/>
                </a:lnTo>
                <a:lnTo>
                  <a:pt x="48514" y="75819"/>
                </a:lnTo>
                <a:lnTo>
                  <a:pt x="59690" y="70104"/>
                </a:lnTo>
                <a:lnTo>
                  <a:pt x="70739" y="57276"/>
                </a:lnTo>
                <a:lnTo>
                  <a:pt x="74675" y="44576"/>
                </a:lnTo>
                <a:lnTo>
                  <a:pt x="77343" y="29083"/>
                </a:lnTo>
                <a:lnTo>
                  <a:pt x="73025" y="20700"/>
                </a:lnTo>
                <a:lnTo>
                  <a:pt x="55880" y="1270"/>
                </a:lnTo>
                <a:lnTo>
                  <a:pt x="44577" y="0"/>
                </a:lnTo>
                <a:close/>
              </a:path>
            </a:pathLst>
          </a:custGeom>
          <a:solidFill>
            <a:srgbClr val="D9D9D9"/>
          </a:solidFill>
        </p:spPr>
        <p:txBody>
          <a:bodyPr wrap="square" lIns="0" tIns="0" rIns="0" bIns="0" rtlCol="0"/>
          <a:lstStyle/>
          <a:p>
            <a:endParaRPr/>
          </a:p>
        </p:txBody>
      </p:sp>
      <p:sp>
        <p:nvSpPr>
          <p:cNvPr id="82" name="object 82"/>
          <p:cNvSpPr/>
          <p:nvPr/>
        </p:nvSpPr>
        <p:spPr>
          <a:xfrm>
            <a:off x="7688960" y="1627378"/>
            <a:ext cx="77470" cy="76200"/>
          </a:xfrm>
          <a:custGeom>
            <a:avLst/>
            <a:gdLst/>
            <a:ahLst/>
            <a:cxnLst/>
            <a:rect l="l" t="t" r="r" b="b"/>
            <a:pathLst>
              <a:path w="77470" h="76200">
                <a:moveTo>
                  <a:pt x="44577" y="0"/>
                </a:moveTo>
                <a:lnTo>
                  <a:pt x="30480" y="254"/>
                </a:lnTo>
                <a:lnTo>
                  <a:pt x="16510" y="7493"/>
                </a:lnTo>
                <a:lnTo>
                  <a:pt x="6858" y="16001"/>
                </a:lnTo>
                <a:lnTo>
                  <a:pt x="0" y="30225"/>
                </a:lnTo>
                <a:lnTo>
                  <a:pt x="1650" y="46989"/>
                </a:lnTo>
                <a:lnTo>
                  <a:pt x="3175" y="56896"/>
                </a:lnTo>
                <a:lnTo>
                  <a:pt x="11811" y="66548"/>
                </a:lnTo>
                <a:lnTo>
                  <a:pt x="21717" y="72009"/>
                </a:lnTo>
                <a:lnTo>
                  <a:pt x="34417" y="76073"/>
                </a:lnTo>
                <a:lnTo>
                  <a:pt x="48514" y="75819"/>
                </a:lnTo>
                <a:lnTo>
                  <a:pt x="59690" y="70104"/>
                </a:lnTo>
                <a:lnTo>
                  <a:pt x="70739" y="57276"/>
                </a:lnTo>
                <a:lnTo>
                  <a:pt x="74675" y="44576"/>
                </a:lnTo>
                <a:lnTo>
                  <a:pt x="77343" y="29083"/>
                </a:lnTo>
                <a:lnTo>
                  <a:pt x="73025" y="20700"/>
                </a:lnTo>
                <a:lnTo>
                  <a:pt x="55880" y="1270"/>
                </a:lnTo>
                <a:lnTo>
                  <a:pt x="44577" y="0"/>
                </a:lnTo>
                <a:close/>
              </a:path>
            </a:pathLst>
          </a:custGeom>
          <a:solidFill>
            <a:srgbClr val="D9D9D9"/>
          </a:solidFill>
        </p:spPr>
        <p:txBody>
          <a:bodyPr wrap="square" lIns="0" tIns="0" rIns="0" bIns="0" rtlCol="0"/>
          <a:lstStyle/>
          <a:p>
            <a:endParaRPr/>
          </a:p>
        </p:txBody>
      </p:sp>
      <p:sp>
        <p:nvSpPr>
          <p:cNvPr id="83" name="object 83"/>
          <p:cNvSpPr/>
          <p:nvPr/>
        </p:nvSpPr>
        <p:spPr>
          <a:xfrm>
            <a:off x="7388353" y="1643379"/>
            <a:ext cx="70485" cy="70485"/>
          </a:xfrm>
          <a:custGeom>
            <a:avLst/>
            <a:gdLst/>
            <a:ahLst/>
            <a:cxnLst/>
            <a:rect l="l" t="t" r="r" b="b"/>
            <a:pathLst>
              <a:path w="70484" h="70485">
                <a:moveTo>
                  <a:pt x="27686" y="0"/>
                </a:moveTo>
                <a:lnTo>
                  <a:pt x="16509" y="5715"/>
                </a:lnTo>
                <a:lnTo>
                  <a:pt x="6857" y="14350"/>
                </a:lnTo>
                <a:lnTo>
                  <a:pt x="0" y="28448"/>
                </a:lnTo>
                <a:lnTo>
                  <a:pt x="253" y="42545"/>
                </a:lnTo>
                <a:lnTo>
                  <a:pt x="4572" y="50927"/>
                </a:lnTo>
                <a:lnTo>
                  <a:pt x="11683" y="57785"/>
                </a:lnTo>
                <a:lnTo>
                  <a:pt x="20320" y="67564"/>
                </a:lnTo>
                <a:lnTo>
                  <a:pt x="31496" y="68834"/>
                </a:lnTo>
                <a:lnTo>
                  <a:pt x="42799" y="69977"/>
                </a:lnTo>
                <a:lnTo>
                  <a:pt x="56769" y="62737"/>
                </a:lnTo>
                <a:lnTo>
                  <a:pt x="65024" y="51435"/>
                </a:lnTo>
                <a:lnTo>
                  <a:pt x="70484" y="41529"/>
                </a:lnTo>
                <a:lnTo>
                  <a:pt x="70230" y="27432"/>
                </a:lnTo>
                <a:lnTo>
                  <a:pt x="65913" y="19050"/>
                </a:lnTo>
                <a:lnTo>
                  <a:pt x="60198" y="7874"/>
                </a:lnTo>
                <a:lnTo>
                  <a:pt x="50292" y="2412"/>
                </a:lnTo>
                <a:lnTo>
                  <a:pt x="38989" y="1143"/>
                </a:lnTo>
                <a:lnTo>
                  <a:pt x="27686" y="0"/>
                </a:lnTo>
                <a:close/>
              </a:path>
            </a:pathLst>
          </a:custGeom>
          <a:solidFill>
            <a:srgbClr val="D9D9D9"/>
          </a:solidFill>
        </p:spPr>
        <p:txBody>
          <a:bodyPr wrap="square" lIns="0" tIns="0" rIns="0" bIns="0" rtlCol="0"/>
          <a:lstStyle/>
          <a:p>
            <a:endParaRPr/>
          </a:p>
        </p:txBody>
      </p:sp>
      <p:sp>
        <p:nvSpPr>
          <p:cNvPr id="84" name="object 84"/>
          <p:cNvSpPr/>
          <p:nvPr/>
        </p:nvSpPr>
        <p:spPr>
          <a:xfrm>
            <a:off x="7388353" y="1643379"/>
            <a:ext cx="70485" cy="70485"/>
          </a:xfrm>
          <a:custGeom>
            <a:avLst/>
            <a:gdLst/>
            <a:ahLst/>
            <a:cxnLst/>
            <a:rect l="l" t="t" r="r" b="b"/>
            <a:pathLst>
              <a:path w="70484" h="70485">
                <a:moveTo>
                  <a:pt x="27686" y="0"/>
                </a:moveTo>
                <a:lnTo>
                  <a:pt x="16509" y="5715"/>
                </a:lnTo>
                <a:lnTo>
                  <a:pt x="6857" y="14350"/>
                </a:lnTo>
                <a:lnTo>
                  <a:pt x="0" y="28448"/>
                </a:lnTo>
                <a:lnTo>
                  <a:pt x="253" y="42545"/>
                </a:lnTo>
                <a:lnTo>
                  <a:pt x="4572" y="50927"/>
                </a:lnTo>
                <a:lnTo>
                  <a:pt x="11683" y="57785"/>
                </a:lnTo>
                <a:lnTo>
                  <a:pt x="20320" y="67564"/>
                </a:lnTo>
                <a:lnTo>
                  <a:pt x="31496" y="68834"/>
                </a:lnTo>
                <a:lnTo>
                  <a:pt x="42799" y="69977"/>
                </a:lnTo>
                <a:lnTo>
                  <a:pt x="56769" y="62737"/>
                </a:lnTo>
                <a:lnTo>
                  <a:pt x="65024" y="51435"/>
                </a:lnTo>
                <a:lnTo>
                  <a:pt x="70484" y="41529"/>
                </a:lnTo>
                <a:lnTo>
                  <a:pt x="70230" y="27432"/>
                </a:lnTo>
                <a:lnTo>
                  <a:pt x="65913" y="19050"/>
                </a:lnTo>
                <a:lnTo>
                  <a:pt x="60198" y="7874"/>
                </a:lnTo>
                <a:lnTo>
                  <a:pt x="50292" y="2412"/>
                </a:lnTo>
                <a:lnTo>
                  <a:pt x="38989" y="1143"/>
                </a:lnTo>
                <a:lnTo>
                  <a:pt x="27686" y="0"/>
                </a:lnTo>
                <a:close/>
              </a:path>
            </a:pathLst>
          </a:custGeom>
          <a:solidFill>
            <a:srgbClr val="D9D9D9"/>
          </a:solidFill>
        </p:spPr>
        <p:txBody>
          <a:bodyPr wrap="square" lIns="0" tIns="0" rIns="0" bIns="0" rtlCol="0"/>
          <a:lstStyle/>
          <a:p>
            <a:endParaRPr/>
          </a:p>
        </p:txBody>
      </p:sp>
      <p:sp>
        <p:nvSpPr>
          <p:cNvPr id="85" name="object 85"/>
          <p:cNvSpPr/>
          <p:nvPr/>
        </p:nvSpPr>
        <p:spPr>
          <a:xfrm>
            <a:off x="7095742" y="1712467"/>
            <a:ext cx="63501" cy="62230"/>
          </a:xfrm>
          <a:custGeom>
            <a:avLst/>
            <a:gdLst/>
            <a:ahLst/>
            <a:cxnLst/>
            <a:rect l="l" t="t" r="r" b="b"/>
            <a:pathLst>
              <a:path w="63500" h="62230">
                <a:moveTo>
                  <a:pt x="23367" y="0"/>
                </a:moveTo>
                <a:lnTo>
                  <a:pt x="12191" y="5715"/>
                </a:lnTo>
                <a:lnTo>
                  <a:pt x="5206" y="12827"/>
                </a:lnTo>
                <a:lnTo>
                  <a:pt x="1270" y="25527"/>
                </a:lnTo>
                <a:lnTo>
                  <a:pt x="0" y="36830"/>
                </a:lnTo>
                <a:lnTo>
                  <a:pt x="8635" y="53594"/>
                </a:lnTo>
                <a:lnTo>
                  <a:pt x="18541" y="59055"/>
                </a:lnTo>
                <a:lnTo>
                  <a:pt x="27050" y="61722"/>
                </a:lnTo>
                <a:lnTo>
                  <a:pt x="36829" y="60198"/>
                </a:lnTo>
                <a:lnTo>
                  <a:pt x="49529" y="57150"/>
                </a:lnTo>
                <a:lnTo>
                  <a:pt x="57784" y="45847"/>
                </a:lnTo>
                <a:lnTo>
                  <a:pt x="63246" y="35941"/>
                </a:lnTo>
                <a:lnTo>
                  <a:pt x="60198" y="23241"/>
                </a:lnTo>
                <a:lnTo>
                  <a:pt x="60071" y="16256"/>
                </a:lnTo>
                <a:lnTo>
                  <a:pt x="52958" y="9398"/>
                </a:lnTo>
                <a:lnTo>
                  <a:pt x="45847" y="2412"/>
                </a:lnTo>
                <a:lnTo>
                  <a:pt x="34544" y="1143"/>
                </a:lnTo>
                <a:lnTo>
                  <a:pt x="23367" y="0"/>
                </a:lnTo>
                <a:close/>
              </a:path>
            </a:pathLst>
          </a:custGeom>
          <a:solidFill>
            <a:srgbClr val="D9D9D9"/>
          </a:solidFill>
        </p:spPr>
        <p:txBody>
          <a:bodyPr wrap="square" lIns="0" tIns="0" rIns="0" bIns="0" rtlCol="0"/>
          <a:lstStyle/>
          <a:p>
            <a:endParaRPr/>
          </a:p>
        </p:txBody>
      </p:sp>
      <p:sp>
        <p:nvSpPr>
          <p:cNvPr id="86" name="object 86"/>
          <p:cNvSpPr/>
          <p:nvPr/>
        </p:nvSpPr>
        <p:spPr>
          <a:xfrm>
            <a:off x="7095742" y="1712467"/>
            <a:ext cx="63501" cy="62230"/>
          </a:xfrm>
          <a:custGeom>
            <a:avLst/>
            <a:gdLst/>
            <a:ahLst/>
            <a:cxnLst/>
            <a:rect l="l" t="t" r="r" b="b"/>
            <a:pathLst>
              <a:path w="63500" h="62230">
                <a:moveTo>
                  <a:pt x="23367" y="0"/>
                </a:moveTo>
                <a:lnTo>
                  <a:pt x="12191" y="5715"/>
                </a:lnTo>
                <a:lnTo>
                  <a:pt x="5206" y="12827"/>
                </a:lnTo>
                <a:lnTo>
                  <a:pt x="1270" y="25527"/>
                </a:lnTo>
                <a:lnTo>
                  <a:pt x="0" y="36830"/>
                </a:lnTo>
                <a:lnTo>
                  <a:pt x="8635" y="53594"/>
                </a:lnTo>
                <a:lnTo>
                  <a:pt x="18541" y="59055"/>
                </a:lnTo>
                <a:lnTo>
                  <a:pt x="27050" y="61722"/>
                </a:lnTo>
                <a:lnTo>
                  <a:pt x="36829" y="60198"/>
                </a:lnTo>
                <a:lnTo>
                  <a:pt x="49529" y="57150"/>
                </a:lnTo>
                <a:lnTo>
                  <a:pt x="57784" y="45847"/>
                </a:lnTo>
                <a:lnTo>
                  <a:pt x="63246" y="35941"/>
                </a:lnTo>
                <a:lnTo>
                  <a:pt x="60198" y="23241"/>
                </a:lnTo>
                <a:lnTo>
                  <a:pt x="60071" y="16256"/>
                </a:lnTo>
                <a:lnTo>
                  <a:pt x="52958" y="9398"/>
                </a:lnTo>
                <a:lnTo>
                  <a:pt x="45847" y="2412"/>
                </a:lnTo>
                <a:lnTo>
                  <a:pt x="34544" y="1143"/>
                </a:lnTo>
                <a:lnTo>
                  <a:pt x="23367" y="0"/>
                </a:lnTo>
                <a:close/>
              </a:path>
            </a:pathLst>
          </a:custGeom>
          <a:solidFill>
            <a:srgbClr val="D9D9D9"/>
          </a:solidFill>
        </p:spPr>
        <p:txBody>
          <a:bodyPr wrap="square" lIns="0" tIns="0" rIns="0" bIns="0" rtlCol="0"/>
          <a:lstStyle/>
          <a:p>
            <a:endParaRPr/>
          </a:p>
        </p:txBody>
      </p:sp>
      <p:sp>
        <p:nvSpPr>
          <p:cNvPr id="87" name="object 87"/>
          <p:cNvSpPr/>
          <p:nvPr/>
        </p:nvSpPr>
        <p:spPr>
          <a:xfrm>
            <a:off x="8757158" y="2436241"/>
            <a:ext cx="135255" cy="138430"/>
          </a:xfrm>
          <a:custGeom>
            <a:avLst/>
            <a:gdLst/>
            <a:ahLst/>
            <a:cxnLst/>
            <a:rect l="l" t="t" r="r" b="b"/>
            <a:pathLst>
              <a:path w="135254" h="138430">
                <a:moveTo>
                  <a:pt x="72136" y="0"/>
                </a:moveTo>
                <a:lnTo>
                  <a:pt x="31623" y="10541"/>
                </a:lnTo>
                <a:lnTo>
                  <a:pt x="0" y="58800"/>
                </a:lnTo>
                <a:lnTo>
                  <a:pt x="253" y="79883"/>
                </a:lnTo>
                <a:lnTo>
                  <a:pt x="7620" y="100837"/>
                </a:lnTo>
                <a:lnTo>
                  <a:pt x="16256" y="117601"/>
                </a:lnTo>
                <a:lnTo>
                  <a:pt x="38989" y="134112"/>
                </a:lnTo>
                <a:lnTo>
                  <a:pt x="51689" y="138175"/>
                </a:lnTo>
                <a:lnTo>
                  <a:pt x="79883" y="137668"/>
                </a:lnTo>
                <a:lnTo>
                  <a:pt x="123063" y="111760"/>
                </a:lnTo>
                <a:lnTo>
                  <a:pt x="135255" y="80645"/>
                </a:lnTo>
                <a:lnTo>
                  <a:pt x="134874" y="59562"/>
                </a:lnTo>
                <a:lnTo>
                  <a:pt x="118872" y="21844"/>
                </a:lnTo>
                <a:lnTo>
                  <a:pt x="72136" y="0"/>
                </a:lnTo>
                <a:close/>
              </a:path>
            </a:pathLst>
          </a:custGeom>
          <a:solidFill>
            <a:srgbClr val="D9D9D9"/>
          </a:solidFill>
        </p:spPr>
        <p:txBody>
          <a:bodyPr wrap="square" lIns="0" tIns="0" rIns="0" bIns="0" rtlCol="0"/>
          <a:lstStyle/>
          <a:p>
            <a:endParaRPr/>
          </a:p>
        </p:txBody>
      </p:sp>
      <p:sp>
        <p:nvSpPr>
          <p:cNvPr id="88" name="object 88"/>
          <p:cNvSpPr/>
          <p:nvPr/>
        </p:nvSpPr>
        <p:spPr>
          <a:xfrm>
            <a:off x="8757158" y="2436241"/>
            <a:ext cx="135255" cy="138430"/>
          </a:xfrm>
          <a:custGeom>
            <a:avLst/>
            <a:gdLst/>
            <a:ahLst/>
            <a:cxnLst/>
            <a:rect l="l" t="t" r="r" b="b"/>
            <a:pathLst>
              <a:path w="135254" h="138430">
                <a:moveTo>
                  <a:pt x="72136" y="0"/>
                </a:moveTo>
                <a:lnTo>
                  <a:pt x="31623" y="10541"/>
                </a:lnTo>
                <a:lnTo>
                  <a:pt x="0" y="58800"/>
                </a:lnTo>
                <a:lnTo>
                  <a:pt x="253" y="79883"/>
                </a:lnTo>
                <a:lnTo>
                  <a:pt x="7620" y="100837"/>
                </a:lnTo>
                <a:lnTo>
                  <a:pt x="16256" y="117601"/>
                </a:lnTo>
                <a:lnTo>
                  <a:pt x="38989" y="134112"/>
                </a:lnTo>
                <a:lnTo>
                  <a:pt x="51689" y="138175"/>
                </a:lnTo>
                <a:lnTo>
                  <a:pt x="79883" y="137668"/>
                </a:lnTo>
                <a:lnTo>
                  <a:pt x="123063" y="111760"/>
                </a:lnTo>
                <a:lnTo>
                  <a:pt x="135255" y="80645"/>
                </a:lnTo>
                <a:lnTo>
                  <a:pt x="134874" y="59562"/>
                </a:lnTo>
                <a:lnTo>
                  <a:pt x="118872" y="21844"/>
                </a:lnTo>
                <a:lnTo>
                  <a:pt x="72136" y="0"/>
                </a:lnTo>
                <a:close/>
              </a:path>
            </a:pathLst>
          </a:custGeom>
          <a:solidFill>
            <a:srgbClr val="D9D9D9"/>
          </a:solidFill>
        </p:spPr>
        <p:txBody>
          <a:bodyPr wrap="square" lIns="0" tIns="0" rIns="0" bIns="0" rtlCol="0"/>
          <a:lstStyle/>
          <a:p>
            <a:endParaRPr/>
          </a:p>
        </p:txBody>
      </p:sp>
      <p:sp>
        <p:nvSpPr>
          <p:cNvPr id="89" name="object 89"/>
          <p:cNvSpPr/>
          <p:nvPr/>
        </p:nvSpPr>
        <p:spPr>
          <a:xfrm>
            <a:off x="8902318" y="2661921"/>
            <a:ext cx="124461" cy="125095"/>
          </a:xfrm>
          <a:custGeom>
            <a:avLst/>
            <a:gdLst/>
            <a:ahLst/>
            <a:cxnLst/>
            <a:rect l="l" t="t" r="r" b="b"/>
            <a:pathLst>
              <a:path w="124459" h="125094">
                <a:moveTo>
                  <a:pt x="65277" y="0"/>
                </a:moveTo>
                <a:lnTo>
                  <a:pt x="20574" y="16128"/>
                </a:lnTo>
                <a:lnTo>
                  <a:pt x="0" y="51562"/>
                </a:lnTo>
                <a:lnTo>
                  <a:pt x="380" y="72643"/>
                </a:lnTo>
                <a:lnTo>
                  <a:pt x="24891" y="113156"/>
                </a:lnTo>
                <a:lnTo>
                  <a:pt x="69976" y="125094"/>
                </a:lnTo>
                <a:lnTo>
                  <a:pt x="82550" y="122046"/>
                </a:lnTo>
                <a:lnTo>
                  <a:pt x="93725" y="116331"/>
                </a:lnTo>
                <a:lnTo>
                  <a:pt x="103504" y="107695"/>
                </a:lnTo>
                <a:lnTo>
                  <a:pt x="115824" y="90677"/>
                </a:lnTo>
                <a:lnTo>
                  <a:pt x="124078" y="72262"/>
                </a:lnTo>
                <a:lnTo>
                  <a:pt x="120903" y="52704"/>
                </a:lnTo>
                <a:lnTo>
                  <a:pt x="117855" y="33019"/>
                </a:lnTo>
                <a:lnTo>
                  <a:pt x="107823" y="20446"/>
                </a:lnTo>
                <a:lnTo>
                  <a:pt x="96392" y="12191"/>
                </a:lnTo>
                <a:lnTo>
                  <a:pt x="76580" y="1269"/>
                </a:lnTo>
                <a:lnTo>
                  <a:pt x="65277" y="0"/>
                </a:lnTo>
                <a:close/>
              </a:path>
            </a:pathLst>
          </a:custGeom>
          <a:solidFill>
            <a:srgbClr val="D9D9D9"/>
          </a:solidFill>
        </p:spPr>
        <p:txBody>
          <a:bodyPr wrap="square" lIns="0" tIns="0" rIns="0" bIns="0" rtlCol="0"/>
          <a:lstStyle/>
          <a:p>
            <a:endParaRPr/>
          </a:p>
        </p:txBody>
      </p:sp>
      <p:sp>
        <p:nvSpPr>
          <p:cNvPr id="90" name="object 90"/>
          <p:cNvSpPr/>
          <p:nvPr/>
        </p:nvSpPr>
        <p:spPr>
          <a:xfrm>
            <a:off x="8902318" y="2661921"/>
            <a:ext cx="124461" cy="125095"/>
          </a:xfrm>
          <a:custGeom>
            <a:avLst/>
            <a:gdLst/>
            <a:ahLst/>
            <a:cxnLst/>
            <a:rect l="l" t="t" r="r" b="b"/>
            <a:pathLst>
              <a:path w="124459" h="125094">
                <a:moveTo>
                  <a:pt x="65277" y="0"/>
                </a:moveTo>
                <a:lnTo>
                  <a:pt x="20574" y="16128"/>
                </a:lnTo>
                <a:lnTo>
                  <a:pt x="0" y="51562"/>
                </a:lnTo>
                <a:lnTo>
                  <a:pt x="380" y="72643"/>
                </a:lnTo>
                <a:lnTo>
                  <a:pt x="24891" y="113156"/>
                </a:lnTo>
                <a:lnTo>
                  <a:pt x="69976" y="125094"/>
                </a:lnTo>
                <a:lnTo>
                  <a:pt x="82550" y="122046"/>
                </a:lnTo>
                <a:lnTo>
                  <a:pt x="93725" y="116331"/>
                </a:lnTo>
                <a:lnTo>
                  <a:pt x="103504" y="107695"/>
                </a:lnTo>
                <a:lnTo>
                  <a:pt x="115824" y="90677"/>
                </a:lnTo>
                <a:lnTo>
                  <a:pt x="124078" y="72262"/>
                </a:lnTo>
                <a:lnTo>
                  <a:pt x="120903" y="52704"/>
                </a:lnTo>
                <a:lnTo>
                  <a:pt x="117855" y="33019"/>
                </a:lnTo>
                <a:lnTo>
                  <a:pt x="107823" y="20446"/>
                </a:lnTo>
                <a:lnTo>
                  <a:pt x="96392" y="12191"/>
                </a:lnTo>
                <a:lnTo>
                  <a:pt x="76580" y="1269"/>
                </a:lnTo>
                <a:lnTo>
                  <a:pt x="65277" y="0"/>
                </a:lnTo>
                <a:close/>
              </a:path>
            </a:pathLst>
          </a:custGeom>
          <a:solidFill>
            <a:srgbClr val="D9D9D9"/>
          </a:solidFill>
        </p:spPr>
        <p:txBody>
          <a:bodyPr wrap="square" lIns="0" tIns="0" rIns="0" bIns="0" rtlCol="0"/>
          <a:lstStyle/>
          <a:p>
            <a:endParaRPr/>
          </a:p>
        </p:txBody>
      </p:sp>
      <p:sp>
        <p:nvSpPr>
          <p:cNvPr id="91" name="object 91"/>
          <p:cNvSpPr/>
          <p:nvPr/>
        </p:nvSpPr>
        <p:spPr>
          <a:xfrm>
            <a:off x="9007349" y="2905125"/>
            <a:ext cx="111125" cy="114300"/>
          </a:xfrm>
          <a:custGeom>
            <a:avLst/>
            <a:gdLst/>
            <a:ahLst/>
            <a:cxnLst/>
            <a:rect l="l" t="t" r="r" b="b"/>
            <a:pathLst>
              <a:path w="111125" h="114300">
                <a:moveTo>
                  <a:pt x="58038" y="0"/>
                </a:moveTo>
                <a:lnTo>
                  <a:pt x="45466" y="3048"/>
                </a:lnTo>
                <a:lnTo>
                  <a:pt x="35686" y="4572"/>
                </a:lnTo>
                <a:lnTo>
                  <a:pt x="27304" y="8889"/>
                </a:lnTo>
                <a:lnTo>
                  <a:pt x="17525" y="17399"/>
                </a:lnTo>
                <a:lnTo>
                  <a:pt x="6476" y="30225"/>
                </a:lnTo>
                <a:lnTo>
                  <a:pt x="1143" y="47244"/>
                </a:lnTo>
                <a:lnTo>
                  <a:pt x="0" y="65532"/>
                </a:lnTo>
                <a:lnTo>
                  <a:pt x="5969" y="83692"/>
                </a:lnTo>
                <a:lnTo>
                  <a:pt x="41528" y="111251"/>
                </a:lnTo>
                <a:lnTo>
                  <a:pt x="64007" y="113791"/>
                </a:lnTo>
                <a:lnTo>
                  <a:pt x="72390" y="109474"/>
                </a:lnTo>
                <a:lnTo>
                  <a:pt x="84962" y="106425"/>
                </a:lnTo>
                <a:lnTo>
                  <a:pt x="105791" y="85089"/>
                </a:lnTo>
                <a:lnTo>
                  <a:pt x="111125" y="68072"/>
                </a:lnTo>
                <a:lnTo>
                  <a:pt x="109474" y="51180"/>
                </a:lnTo>
                <a:lnTo>
                  <a:pt x="103504" y="33020"/>
                </a:lnTo>
                <a:lnTo>
                  <a:pt x="96266" y="19050"/>
                </a:lnTo>
                <a:lnTo>
                  <a:pt x="89153" y="12191"/>
                </a:lnTo>
                <a:lnTo>
                  <a:pt x="79248" y="6730"/>
                </a:lnTo>
                <a:lnTo>
                  <a:pt x="58038" y="0"/>
                </a:lnTo>
                <a:close/>
              </a:path>
            </a:pathLst>
          </a:custGeom>
          <a:solidFill>
            <a:srgbClr val="D9D9D9"/>
          </a:solidFill>
        </p:spPr>
        <p:txBody>
          <a:bodyPr wrap="square" lIns="0" tIns="0" rIns="0" bIns="0" rtlCol="0"/>
          <a:lstStyle/>
          <a:p>
            <a:endParaRPr/>
          </a:p>
        </p:txBody>
      </p:sp>
      <p:sp>
        <p:nvSpPr>
          <p:cNvPr id="92" name="object 92"/>
          <p:cNvSpPr/>
          <p:nvPr/>
        </p:nvSpPr>
        <p:spPr>
          <a:xfrm>
            <a:off x="9007349" y="2905125"/>
            <a:ext cx="111125" cy="114300"/>
          </a:xfrm>
          <a:custGeom>
            <a:avLst/>
            <a:gdLst/>
            <a:ahLst/>
            <a:cxnLst/>
            <a:rect l="l" t="t" r="r" b="b"/>
            <a:pathLst>
              <a:path w="111125" h="114300">
                <a:moveTo>
                  <a:pt x="58038" y="0"/>
                </a:moveTo>
                <a:lnTo>
                  <a:pt x="45466" y="3048"/>
                </a:lnTo>
                <a:lnTo>
                  <a:pt x="35686" y="4572"/>
                </a:lnTo>
                <a:lnTo>
                  <a:pt x="27304" y="8889"/>
                </a:lnTo>
                <a:lnTo>
                  <a:pt x="17525" y="17399"/>
                </a:lnTo>
                <a:lnTo>
                  <a:pt x="6476" y="30225"/>
                </a:lnTo>
                <a:lnTo>
                  <a:pt x="1143" y="47244"/>
                </a:lnTo>
                <a:lnTo>
                  <a:pt x="0" y="65532"/>
                </a:lnTo>
                <a:lnTo>
                  <a:pt x="5969" y="83692"/>
                </a:lnTo>
                <a:lnTo>
                  <a:pt x="41528" y="111251"/>
                </a:lnTo>
                <a:lnTo>
                  <a:pt x="64007" y="113791"/>
                </a:lnTo>
                <a:lnTo>
                  <a:pt x="72390" y="109474"/>
                </a:lnTo>
                <a:lnTo>
                  <a:pt x="84962" y="106425"/>
                </a:lnTo>
                <a:lnTo>
                  <a:pt x="105791" y="85089"/>
                </a:lnTo>
                <a:lnTo>
                  <a:pt x="111125" y="68072"/>
                </a:lnTo>
                <a:lnTo>
                  <a:pt x="109474" y="51180"/>
                </a:lnTo>
                <a:lnTo>
                  <a:pt x="103504" y="33020"/>
                </a:lnTo>
                <a:lnTo>
                  <a:pt x="96266" y="19050"/>
                </a:lnTo>
                <a:lnTo>
                  <a:pt x="89153" y="12191"/>
                </a:lnTo>
                <a:lnTo>
                  <a:pt x="79248" y="6730"/>
                </a:lnTo>
                <a:lnTo>
                  <a:pt x="58038" y="0"/>
                </a:lnTo>
                <a:close/>
              </a:path>
            </a:pathLst>
          </a:custGeom>
          <a:solidFill>
            <a:srgbClr val="D9D9D9"/>
          </a:solidFill>
        </p:spPr>
        <p:txBody>
          <a:bodyPr wrap="square" lIns="0" tIns="0" rIns="0" bIns="0" rtlCol="0"/>
          <a:lstStyle/>
          <a:p>
            <a:endParaRPr/>
          </a:p>
        </p:txBody>
      </p:sp>
      <p:sp>
        <p:nvSpPr>
          <p:cNvPr id="93" name="object 93"/>
          <p:cNvSpPr/>
          <p:nvPr/>
        </p:nvSpPr>
        <p:spPr>
          <a:xfrm>
            <a:off x="9067293" y="3164332"/>
            <a:ext cx="100965" cy="101600"/>
          </a:xfrm>
          <a:custGeom>
            <a:avLst/>
            <a:gdLst/>
            <a:ahLst/>
            <a:cxnLst/>
            <a:rect l="l" t="t" r="r" b="b"/>
            <a:pathLst>
              <a:path w="100965" h="101600">
                <a:moveTo>
                  <a:pt x="51180" y="0"/>
                </a:moveTo>
                <a:lnTo>
                  <a:pt x="5206" y="27431"/>
                </a:lnTo>
                <a:lnTo>
                  <a:pt x="2666" y="42925"/>
                </a:lnTo>
                <a:lnTo>
                  <a:pt x="0" y="58419"/>
                </a:lnTo>
                <a:lnTo>
                  <a:pt x="30099" y="96012"/>
                </a:lnTo>
                <a:lnTo>
                  <a:pt x="47116" y="101345"/>
                </a:lnTo>
                <a:lnTo>
                  <a:pt x="66675" y="98170"/>
                </a:lnTo>
                <a:lnTo>
                  <a:pt x="86232" y="88137"/>
                </a:lnTo>
                <a:lnTo>
                  <a:pt x="93151" y="73787"/>
                </a:lnTo>
                <a:lnTo>
                  <a:pt x="99822" y="59816"/>
                </a:lnTo>
                <a:lnTo>
                  <a:pt x="100964" y="41528"/>
                </a:lnTo>
                <a:lnTo>
                  <a:pt x="93661" y="27431"/>
                </a:lnTo>
                <a:lnTo>
                  <a:pt x="88010" y="16382"/>
                </a:lnTo>
                <a:lnTo>
                  <a:pt x="80899" y="9397"/>
                </a:lnTo>
                <a:lnTo>
                  <a:pt x="70992" y="3937"/>
                </a:lnTo>
                <a:lnTo>
                  <a:pt x="51180" y="0"/>
                </a:lnTo>
                <a:close/>
              </a:path>
            </a:pathLst>
          </a:custGeom>
          <a:solidFill>
            <a:srgbClr val="D9D9D9"/>
          </a:solidFill>
        </p:spPr>
        <p:txBody>
          <a:bodyPr wrap="square" lIns="0" tIns="0" rIns="0" bIns="0" rtlCol="0"/>
          <a:lstStyle/>
          <a:p>
            <a:endParaRPr/>
          </a:p>
        </p:txBody>
      </p:sp>
      <p:sp>
        <p:nvSpPr>
          <p:cNvPr id="94" name="object 94"/>
          <p:cNvSpPr/>
          <p:nvPr/>
        </p:nvSpPr>
        <p:spPr>
          <a:xfrm>
            <a:off x="9067293" y="3164332"/>
            <a:ext cx="100965" cy="101600"/>
          </a:xfrm>
          <a:custGeom>
            <a:avLst/>
            <a:gdLst/>
            <a:ahLst/>
            <a:cxnLst/>
            <a:rect l="l" t="t" r="r" b="b"/>
            <a:pathLst>
              <a:path w="100965" h="101600">
                <a:moveTo>
                  <a:pt x="51180" y="0"/>
                </a:moveTo>
                <a:lnTo>
                  <a:pt x="5206" y="27431"/>
                </a:lnTo>
                <a:lnTo>
                  <a:pt x="2666" y="42925"/>
                </a:lnTo>
                <a:lnTo>
                  <a:pt x="0" y="58419"/>
                </a:lnTo>
                <a:lnTo>
                  <a:pt x="30099" y="96012"/>
                </a:lnTo>
                <a:lnTo>
                  <a:pt x="47116" y="101345"/>
                </a:lnTo>
                <a:lnTo>
                  <a:pt x="66675" y="98170"/>
                </a:lnTo>
                <a:lnTo>
                  <a:pt x="86232" y="88137"/>
                </a:lnTo>
                <a:lnTo>
                  <a:pt x="93151" y="73787"/>
                </a:lnTo>
                <a:lnTo>
                  <a:pt x="99822" y="59816"/>
                </a:lnTo>
                <a:lnTo>
                  <a:pt x="100964" y="41528"/>
                </a:lnTo>
                <a:lnTo>
                  <a:pt x="93661" y="27431"/>
                </a:lnTo>
                <a:lnTo>
                  <a:pt x="88010" y="16382"/>
                </a:lnTo>
                <a:lnTo>
                  <a:pt x="80899" y="9397"/>
                </a:lnTo>
                <a:lnTo>
                  <a:pt x="70992" y="3937"/>
                </a:lnTo>
                <a:lnTo>
                  <a:pt x="51180" y="0"/>
                </a:lnTo>
                <a:close/>
              </a:path>
            </a:pathLst>
          </a:custGeom>
          <a:solidFill>
            <a:srgbClr val="D9D9D9"/>
          </a:solidFill>
        </p:spPr>
        <p:txBody>
          <a:bodyPr wrap="square" lIns="0" tIns="0" rIns="0" bIns="0" rtlCol="0"/>
          <a:lstStyle/>
          <a:p>
            <a:endParaRPr/>
          </a:p>
        </p:txBody>
      </p:sp>
      <p:sp>
        <p:nvSpPr>
          <p:cNvPr id="95" name="object 95"/>
          <p:cNvSpPr/>
          <p:nvPr/>
        </p:nvSpPr>
        <p:spPr>
          <a:xfrm>
            <a:off x="9083548" y="3427095"/>
            <a:ext cx="88900" cy="91440"/>
          </a:xfrm>
          <a:custGeom>
            <a:avLst/>
            <a:gdLst/>
            <a:ahLst/>
            <a:cxnLst/>
            <a:rect l="l" t="t" r="r" b="b"/>
            <a:pathLst>
              <a:path w="88900" h="91439">
                <a:moveTo>
                  <a:pt x="47244" y="0"/>
                </a:moveTo>
                <a:lnTo>
                  <a:pt x="30479" y="1650"/>
                </a:lnTo>
                <a:lnTo>
                  <a:pt x="15112" y="13080"/>
                </a:lnTo>
                <a:lnTo>
                  <a:pt x="6857" y="24510"/>
                </a:lnTo>
                <a:lnTo>
                  <a:pt x="0" y="38607"/>
                </a:lnTo>
                <a:lnTo>
                  <a:pt x="253" y="52704"/>
                </a:lnTo>
                <a:lnTo>
                  <a:pt x="4699" y="68071"/>
                </a:lnTo>
                <a:lnTo>
                  <a:pt x="26034" y="88900"/>
                </a:lnTo>
                <a:lnTo>
                  <a:pt x="41655" y="91439"/>
                </a:lnTo>
                <a:lnTo>
                  <a:pt x="61213" y="88391"/>
                </a:lnTo>
                <a:lnTo>
                  <a:pt x="75183" y="81152"/>
                </a:lnTo>
                <a:lnTo>
                  <a:pt x="86232" y="68325"/>
                </a:lnTo>
                <a:lnTo>
                  <a:pt x="88773" y="52831"/>
                </a:lnTo>
                <a:lnTo>
                  <a:pt x="88646" y="38734"/>
                </a:lnTo>
                <a:lnTo>
                  <a:pt x="85598" y="26162"/>
                </a:lnTo>
                <a:lnTo>
                  <a:pt x="79882" y="14985"/>
                </a:lnTo>
                <a:lnTo>
                  <a:pt x="64261" y="5333"/>
                </a:lnTo>
                <a:lnTo>
                  <a:pt x="47244" y="0"/>
                </a:lnTo>
                <a:close/>
              </a:path>
            </a:pathLst>
          </a:custGeom>
          <a:solidFill>
            <a:srgbClr val="D9D9D9"/>
          </a:solidFill>
        </p:spPr>
        <p:txBody>
          <a:bodyPr wrap="square" lIns="0" tIns="0" rIns="0" bIns="0" rtlCol="0"/>
          <a:lstStyle/>
          <a:p>
            <a:endParaRPr/>
          </a:p>
        </p:txBody>
      </p:sp>
      <p:sp>
        <p:nvSpPr>
          <p:cNvPr id="96" name="object 96"/>
          <p:cNvSpPr/>
          <p:nvPr/>
        </p:nvSpPr>
        <p:spPr>
          <a:xfrm>
            <a:off x="9083548" y="3427095"/>
            <a:ext cx="88900" cy="91440"/>
          </a:xfrm>
          <a:custGeom>
            <a:avLst/>
            <a:gdLst/>
            <a:ahLst/>
            <a:cxnLst/>
            <a:rect l="l" t="t" r="r" b="b"/>
            <a:pathLst>
              <a:path w="88900" h="91439">
                <a:moveTo>
                  <a:pt x="47244" y="0"/>
                </a:moveTo>
                <a:lnTo>
                  <a:pt x="30479" y="1650"/>
                </a:lnTo>
                <a:lnTo>
                  <a:pt x="15112" y="13080"/>
                </a:lnTo>
                <a:lnTo>
                  <a:pt x="6857" y="24510"/>
                </a:lnTo>
                <a:lnTo>
                  <a:pt x="0" y="38607"/>
                </a:lnTo>
                <a:lnTo>
                  <a:pt x="253" y="52704"/>
                </a:lnTo>
                <a:lnTo>
                  <a:pt x="4699" y="68071"/>
                </a:lnTo>
                <a:lnTo>
                  <a:pt x="26034" y="88900"/>
                </a:lnTo>
                <a:lnTo>
                  <a:pt x="41655" y="91439"/>
                </a:lnTo>
                <a:lnTo>
                  <a:pt x="61213" y="88391"/>
                </a:lnTo>
                <a:lnTo>
                  <a:pt x="75183" y="81152"/>
                </a:lnTo>
                <a:lnTo>
                  <a:pt x="86232" y="68325"/>
                </a:lnTo>
                <a:lnTo>
                  <a:pt x="88773" y="52831"/>
                </a:lnTo>
                <a:lnTo>
                  <a:pt x="88646" y="38734"/>
                </a:lnTo>
                <a:lnTo>
                  <a:pt x="85598" y="26162"/>
                </a:lnTo>
                <a:lnTo>
                  <a:pt x="79882" y="14985"/>
                </a:lnTo>
                <a:lnTo>
                  <a:pt x="64261" y="5333"/>
                </a:lnTo>
                <a:lnTo>
                  <a:pt x="47244" y="0"/>
                </a:lnTo>
                <a:close/>
              </a:path>
            </a:pathLst>
          </a:custGeom>
          <a:solidFill>
            <a:srgbClr val="D9D9D9"/>
          </a:solidFill>
        </p:spPr>
        <p:txBody>
          <a:bodyPr wrap="square" lIns="0" tIns="0" rIns="0" bIns="0" rtlCol="0"/>
          <a:lstStyle/>
          <a:p>
            <a:endParaRPr/>
          </a:p>
        </p:txBody>
      </p:sp>
      <p:sp>
        <p:nvSpPr>
          <p:cNvPr id="97" name="object 97"/>
          <p:cNvSpPr/>
          <p:nvPr/>
        </p:nvSpPr>
        <p:spPr>
          <a:xfrm>
            <a:off x="9053704" y="3689097"/>
            <a:ext cx="81914" cy="80645"/>
          </a:xfrm>
          <a:custGeom>
            <a:avLst/>
            <a:gdLst/>
            <a:ahLst/>
            <a:cxnLst/>
            <a:rect l="l" t="t" r="r" b="b"/>
            <a:pathLst>
              <a:path w="81915" h="80645">
                <a:moveTo>
                  <a:pt x="43052" y="0"/>
                </a:moveTo>
                <a:lnTo>
                  <a:pt x="26162" y="1650"/>
                </a:lnTo>
                <a:lnTo>
                  <a:pt x="13716" y="11683"/>
                </a:lnTo>
                <a:lnTo>
                  <a:pt x="3937" y="20192"/>
                </a:lnTo>
                <a:lnTo>
                  <a:pt x="0" y="32892"/>
                </a:lnTo>
                <a:lnTo>
                  <a:pt x="126" y="46989"/>
                </a:lnTo>
                <a:lnTo>
                  <a:pt x="5969" y="58165"/>
                </a:lnTo>
                <a:lnTo>
                  <a:pt x="10287" y="66547"/>
                </a:lnTo>
                <a:lnTo>
                  <a:pt x="23114" y="77596"/>
                </a:lnTo>
                <a:lnTo>
                  <a:pt x="38607" y="80136"/>
                </a:lnTo>
                <a:lnTo>
                  <a:pt x="55499" y="78485"/>
                </a:lnTo>
                <a:lnTo>
                  <a:pt x="67945" y="68452"/>
                </a:lnTo>
                <a:lnTo>
                  <a:pt x="77724" y="59943"/>
                </a:lnTo>
                <a:lnTo>
                  <a:pt x="81661" y="47116"/>
                </a:lnTo>
                <a:lnTo>
                  <a:pt x="81533" y="33146"/>
                </a:lnTo>
                <a:lnTo>
                  <a:pt x="75692" y="21970"/>
                </a:lnTo>
                <a:lnTo>
                  <a:pt x="71374" y="13588"/>
                </a:lnTo>
                <a:lnTo>
                  <a:pt x="58547" y="2539"/>
                </a:lnTo>
                <a:lnTo>
                  <a:pt x="43052" y="0"/>
                </a:lnTo>
                <a:close/>
              </a:path>
            </a:pathLst>
          </a:custGeom>
          <a:solidFill>
            <a:srgbClr val="D9D9D9"/>
          </a:solidFill>
        </p:spPr>
        <p:txBody>
          <a:bodyPr wrap="square" lIns="0" tIns="0" rIns="0" bIns="0" rtlCol="0"/>
          <a:lstStyle/>
          <a:p>
            <a:endParaRPr/>
          </a:p>
        </p:txBody>
      </p:sp>
      <p:sp>
        <p:nvSpPr>
          <p:cNvPr id="98" name="object 98"/>
          <p:cNvSpPr/>
          <p:nvPr/>
        </p:nvSpPr>
        <p:spPr>
          <a:xfrm>
            <a:off x="9053704" y="3689097"/>
            <a:ext cx="81914" cy="80645"/>
          </a:xfrm>
          <a:custGeom>
            <a:avLst/>
            <a:gdLst/>
            <a:ahLst/>
            <a:cxnLst/>
            <a:rect l="l" t="t" r="r" b="b"/>
            <a:pathLst>
              <a:path w="81915" h="80645">
                <a:moveTo>
                  <a:pt x="43052" y="0"/>
                </a:moveTo>
                <a:lnTo>
                  <a:pt x="26162" y="1650"/>
                </a:lnTo>
                <a:lnTo>
                  <a:pt x="13716" y="11683"/>
                </a:lnTo>
                <a:lnTo>
                  <a:pt x="3937" y="20192"/>
                </a:lnTo>
                <a:lnTo>
                  <a:pt x="0" y="32892"/>
                </a:lnTo>
                <a:lnTo>
                  <a:pt x="126" y="46989"/>
                </a:lnTo>
                <a:lnTo>
                  <a:pt x="5969" y="58165"/>
                </a:lnTo>
                <a:lnTo>
                  <a:pt x="10287" y="66547"/>
                </a:lnTo>
                <a:lnTo>
                  <a:pt x="23114" y="77596"/>
                </a:lnTo>
                <a:lnTo>
                  <a:pt x="38607" y="80136"/>
                </a:lnTo>
                <a:lnTo>
                  <a:pt x="55499" y="78485"/>
                </a:lnTo>
                <a:lnTo>
                  <a:pt x="67945" y="68452"/>
                </a:lnTo>
                <a:lnTo>
                  <a:pt x="77724" y="59943"/>
                </a:lnTo>
                <a:lnTo>
                  <a:pt x="81661" y="47116"/>
                </a:lnTo>
                <a:lnTo>
                  <a:pt x="81533" y="33146"/>
                </a:lnTo>
                <a:lnTo>
                  <a:pt x="75692" y="21970"/>
                </a:lnTo>
                <a:lnTo>
                  <a:pt x="71374" y="13588"/>
                </a:lnTo>
                <a:lnTo>
                  <a:pt x="58547" y="2539"/>
                </a:lnTo>
                <a:lnTo>
                  <a:pt x="43052" y="0"/>
                </a:lnTo>
                <a:close/>
              </a:path>
            </a:pathLst>
          </a:custGeom>
          <a:solidFill>
            <a:srgbClr val="D9D9D9"/>
          </a:solidFill>
        </p:spPr>
        <p:txBody>
          <a:bodyPr wrap="square" lIns="0" tIns="0" rIns="0" bIns="0" rtlCol="0"/>
          <a:lstStyle/>
          <a:p>
            <a:endParaRPr/>
          </a:p>
        </p:txBody>
      </p:sp>
      <p:sp>
        <p:nvSpPr>
          <p:cNvPr id="99" name="object 99"/>
          <p:cNvSpPr/>
          <p:nvPr/>
        </p:nvSpPr>
        <p:spPr>
          <a:xfrm>
            <a:off x="8978773" y="3939033"/>
            <a:ext cx="74931" cy="71755"/>
          </a:xfrm>
          <a:custGeom>
            <a:avLst/>
            <a:gdLst/>
            <a:ahLst/>
            <a:cxnLst/>
            <a:rect l="l" t="t" r="r" b="b"/>
            <a:pathLst>
              <a:path w="74929" h="71754">
                <a:moveTo>
                  <a:pt x="38734" y="0"/>
                </a:moveTo>
                <a:lnTo>
                  <a:pt x="1270" y="30099"/>
                </a:lnTo>
                <a:lnTo>
                  <a:pt x="0" y="41402"/>
                </a:lnTo>
                <a:lnTo>
                  <a:pt x="5842" y="52451"/>
                </a:lnTo>
                <a:lnTo>
                  <a:pt x="10159" y="60833"/>
                </a:lnTo>
                <a:lnTo>
                  <a:pt x="21462" y="69088"/>
                </a:lnTo>
                <a:lnTo>
                  <a:pt x="36956" y="71755"/>
                </a:lnTo>
                <a:lnTo>
                  <a:pt x="51053" y="71501"/>
                </a:lnTo>
                <a:lnTo>
                  <a:pt x="60832" y="62992"/>
                </a:lnTo>
                <a:lnTo>
                  <a:pt x="70484" y="54356"/>
                </a:lnTo>
                <a:lnTo>
                  <a:pt x="74549" y="41656"/>
                </a:lnTo>
                <a:lnTo>
                  <a:pt x="72898" y="31877"/>
                </a:lnTo>
                <a:lnTo>
                  <a:pt x="69976" y="19177"/>
                </a:lnTo>
                <a:lnTo>
                  <a:pt x="65658" y="10795"/>
                </a:lnTo>
                <a:lnTo>
                  <a:pt x="54228" y="2540"/>
                </a:lnTo>
                <a:lnTo>
                  <a:pt x="38734" y="0"/>
                </a:lnTo>
                <a:close/>
              </a:path>
            </a:pathLst>
          </a:custGeom>
          <a:solidFill>
            <a:srgbClr val="D9D9D9"/>
          </a:solidFill>
        </p:spPr>
        <p:txBody>
          <a:bodyPr wrap="square" lIns="0" tIns="0" rIns="0" bIns="0" rtlCol="0"/>
          <a:lstStyle/>
          <a:p>
            <a:endParaRPr/>
          </a:p>
        </p:txBody>
      </p:sp>
      <p:sp>
        <p:nvSpPr>
          <p:cNvPr id="100" name="object 100"/>
          <p:cNvSpPr/>
          <p:nvPr/>
        </p:nvSpPr>
        <p:spPr>
          <a:xfrm>
            <a:off x="8978773" y="3939033"/>
            <a:ext cx="74931" cy="71755"/>
          </a:xfrm>
          <a:custGeom>
            <a:avLst/>
            <a:gdLst/>
            <a:ahLst/>
            <a:cxnLst/>
            <a:rect l="l" t="t" r="r" b="b"/>
            <a:pathLst>
              <a:path w="74929" h="71754">
                <a:moveTo>
                  <a:pt x="38734" y="0"/>
                </a:moveTo>
                <a:lnTo>
                  <a:pt x="1270" y="30099"/>
                </a:lnTo>
                <a:lnTo>
                  <a:pt x="0" y="41402"/>
                </a:lnTo>
                <a:lnTo>
                  <a:pt x="5842" y="52451"/>
                </a:lnTo>
                <a:lnTo>
                  <a:pt x="10159" y="60833"/>
                </a:lnTo>
                <a:lnTo>
                  <a:pt x="21462" y="69088"/>
                </a:lnTo>
                <a:lnTo>
                  <a:pt x="36956" y="71755"/>
                </a:lnTo>
                <a:lnTo>
                  <a:pt x="51053" y="71501"/>
                </a:lnTo>
                <a:lnTo>
                  <a:pt x="60832" y="62992"/>
                </a:lnTo>
                <a:lnTo>
                  <a:pt x="70484" y="54356"/>
                </a:lnTo>
                <a:lnTo>
                  <a:pt x="74549" y="41656"/>
                </a:lnTo>
                <a:lnTo>
                  <a:pt x="72898" y="31877"/>
                </a:lnTo>
                <a:lnTo>
                  <a:pt x="69976" y="19177"/>
                </a:lnTo>
                <a:lnTo>
                  <a:pt x="65658" y="10795"/>
                </a:lnTo>
                <a:lnTo>
                  <a:pt x="54228" y="2540"/>
                </a:lnTo>
                <a:lnTo>
                  <a:pt x="38734" y="0"/>
                </a:lnTo>
                <a:close/>
              </a:path>
            </a:pathLst>
          </a:custGeom>
          <a:solidFill>
            <a:srgbClr val="D9D9D9"/>
          </a:solidFill>
        </p:spPr>
        <p:txBody>
          <a:bodyPr wrap="square" lIns="0" tIns="0" rIns="0" bIns="0" rtlCol="0"/>
          <a:lstStyle/>
          <a:p>
            <a:endParaRPr/>
          </a:p>
        </p:txBody>
      </p:sp>
      <p:sp>
        <p:nvSpPr>
          <p:cNvPr id="101" name="object 101"/>
          <p:cNvSpPr/>
          <p:nvPr/>
        </p:nvSpPr>
        <p:spPr>
          <a:xfrm>
            <a:off x="8864092" y="4171316"/>
            <a:ext cx="66040" cy="64769"/>
          </a:xfrm>
          <a:custGeom>
            <a:avLst/>
            <a:gdLst/>
            <a:ahLst/>
            <a:cxnLst/>
            <a:rect l="l" t="t" r="r" b="b"/>
            <a:pathLst>
              <a:path w="66040" h="64770">
                <a:moveTo>
                  <a:pt x="33147" y="0"/>
                </a:moveTo>
                <a:lnTo>
                  <a:pt x="1269" y="27178"/>
                </a:lnTo>
                <a:lnTo>
                  <a:pt x="0" y="38481"/>
                </a:lnTo>
                <a:lnTo>
                  <a:pt x="8635" y="55245"/>
                </a:lnTo>
                <a:lnTo>
                  <a:pt x="20065" y="63500"/>
                </a:lnTo>
                <a:lnTo>
                  <a:pt x="31368" y="64770"/>
                </a:lnTo>
                <a:lnTo>
                  <a:pt x="45338" y="64516"/>
                </a:lnTo>
                <a:lnTo>
                  <a:pt x="55117" y="56007"/>
                </a:lnTo>
                <a:lnTo>
                  <a:pt x="61975" y="48768"/>
                </a:lnTo>
                <a:lnTo>
                  <a:pt x="64642" y="40386"/>
                </a:lnTo>
                <a:lnTo>
                  <a:pt x="65912" y="29083"/>
                </a:lnTo>
                <a:lnTo>
                  <a:pt x="62991" y="16510"/>
                </a:lnTo>
                <a:lnTo>
                  <a:pt x="57276" y="12318"/>
                </a:lnTo>
                <a:lnTo>
                  <a:pt x="45847" y="4064"/>
                </a:lnTo>
                <a:lnTo>
                  <a:pt x="33147" y="0"/>
                </a:lnTo>
                <a:close/>
              </a:path>
            </a:pathLst>
          </a:custGeom>
          <a:solidFill>
            <a:srgbClr val="D9D9D9"/>
          </a:solidFill>
        </p:spPr>
        <p:txBody>
          <a:bodyPr wrap="square" lIns="0" tIns="0" rIns="0" bIns="0" rtlCol="0"/>
          <a:lstStyle/>
          <a:p>
            <a:endParaRPr/>
          </a:p>
        </p:txBody>
      </p:sp>
      <p:sp>
        <p:nvSpPr>
          <p:cNvPr id="102" name="object 102"/>
          <p:cNvSpPr/>
          <p:nvPr/>
        </p:nvSpPr>
        <p:spPr>
          <a:xfrm>
            <a:off x="8864092" y="4171316"/>
            <a:ext cx="66040" cy="64769"/>
          </a:xfrm>
          <a:custGeom>
            <a:avLst/>
            <a:gdLst/>
            <a:ahLst/>
            <a:cxnLst/>
            <a:rect l="l" t="t" r="r" b="b"/>
            <a:pathLst>
              <a:path w="66040" h="64770">
                <a:moveTo>
                  <a:pt x="33147" y="0"/>
                </a:moveTo>
                <a:lnTo>
                  <a:pt x="1269" y="27178"/>
                </a:lnTo>
                <a:lnTo>
                  <a:pt x="0" y="38481"/>
                </a:lnTo>
                <a:lnTo>
                  <a:pt x="8635" y="55245"/>
                </a:lnTo>
                <a:lnTo>
                  <a:pt x="20065" y="63500"/>
                </a:lnTo>
                <a:lnTo>
                  <a:pt x="31368" y="64770"/>
                </a:lnTo>
                <a:lnTo>
                  <a:pt x="45338" y="64516"/>
                </a:lnTo>
                <a:lnTo>
                  <a:pt x="55117" y="56007"/>
                </a:lnTo>
                <a:lnTo>
                  <a:pt x="61975" y="48768"/>
                </a:lnTo>
                <a:lnTo>
                  <a:pt x="64642" y="40386"/>
                </a:lnTo>
                <a:lnTo>
                  <a:pt x="65912" y="29083"/>
                </a:lnTo>
                <a:lnTo>
                  <a:pt x="62991" y="16510"/>
                </a:lnTo>
                <a:lnTo>
                  <a:pt x="57276" y="12318"/>
                </a:lnTo>
                <a:lnTo>
                  <a:pt x="45847" y="4064"/>
                </a:lnTo>
                <a:lnTo>
                  <a:pt x="33147" y="0"/>
                </a:lnTo>
                <a:close/>
              </a:path>
            </a:pathLst>
          </a:custGeom>
          <a:solidFill>
            <a:srgbClr val="D9D9D9"/>
          </a:solidFill>
        </p:spPr>
        <p:txBody>
          <a:bodyPr wrap="square" lIns="0" tIns="0" rIns="0" bIns="0" rtlCol="0"/>
          <a:lstStyle/>
          <a:p>
            <a:endParaRPr/>
          </a:p>
        </p:txBody>
      </p:sp>
      <p:sp>
        <p:nvSpPr>
          <p:cNvPr id="103" name="object 103"/>
          <p:cNvSpPr/>
          <p:nvPr/>
        </p:nvSpPr>
        <p:spPr>
          <a:xfrm>
            <a:off x="8709533" y="4380358"/>
            <a:ext cx="60960" cy="57785"/>
          </a:xfrm>
          <a:custGeom>
            <a:avLst/>
            <a:gdLst/>
            <a:ahLst/>
            <a:cxnLst/>
            <a:rect l="l" t="t" r="r" b="b"/>
            <a:pathLst>
              <a:path w="60959" h="57785">
                <a:moveTo>
                  <a:pt x="30607" y="0"/>
                </a:moveTo>
                <a:lnTo>
                  <a:pt x="20827" y="1524"/>
                </a:lnTo>
                <a:lnTo>
                  <a:pt x="9651" y="7366"/>
                </a:lnTo>
                <a:lnTo>
                  <a:pt x="2667" y="14478"/>
                </a:lnTo>
                <a:lnTo>
                  <a:pt x="0" y="22987"/>
                </a:lnTo>
                <a:lnTo>
                  <a:pt x="3048" y="42545"/>
                </a:lnTo>
                <a:lnTo>
                  <a:pt x="8763" y="46736"/>
                </a:lnTo>
                <a:lnTo>
                  <a:pt x="17399" y="56388"/>
                </a:lnTo>
                <a:lnTo>
                  <a:pt x="56515" y="43180"/>
                </a:lnTo>
                <a:lnTo>
                  <a:pt x="60451" y="23495"/>
                </a:lnTo>
                <a:lnTo>
                  <a:pt x="56134" y="15113"/>
                </a:lnTo>
                <a:lnTo>
                  <a:pt x="53213" y="9525"/>
                </a:lnTo>
                <a:lnTo>
                  <a:pt x="41783" y="1270"/>
                </a:lnTo>
                <a:lnTo>
                  <a:pt x="30607" y="0"/>
                </a:lnTo>
                <a:close/>
              </a:path>
            </a:pathLst>
          </a:custGeom>
          <a:solidFill>
            <a:srgbClr val="D9D9D9"/>
          </a:solidFill>
        </p:spPr>
        <p:txBody>
          <a:bodyPr wrap="square" lIns="0" tIns="0" rIns="0" bIns="0" rtlCol="0"/>
          <a:lstStyle/>
          <a:p>
            <a:endParaRPr/>
          </a:p>
        </p:txBody>
      </p:sp>
      <p:sp>
        <p:nvSpPr>
          <p:cNvPr id="104" name="object 104"/>
          <p:cNvSpPr/>
          <p:nvPr/>
        </p:nvSpPr>
        <p:spPr>
          <a:xfrm>
            <a:off x="8709533" y="4380358"/>
            <a:ext cx="60960" cy="57785"/>
          </a:xfrm>
          <a:custGeom>
            <a:avLst/>
            <a:gdLst/>
            <a:ahLst/>
            <a:cxnLst/>
            <a:rect l="l" t="t" r="r" b="b"/>
            <a:pathLst>
              <a:path w="60959" h="57785">
                <a:moveTo>
                  <a:pt x="30607" y="0"/>
                </a:moveTo>
                <a:lnTo>
                  <a:pt x="20827" y="1524"/>
                </a:lnTo>
                <a:lnTo>
                  <a:pt x="9651" y="7366"/>
                </a:lnTo>
                <a:lnTo>
                  <a:pt x="2667" y="14478"/>
                </a:lnTo>
                <a:lnTo>
                  <a:pt x="0" y="22987"/>
                </a:lnTo>
                <a:lnTo>
                  <a:pt x="3048" y="42545"/>
                </a:lnTo>
                <a:lnTo>
                  <a:pt x="8763" y="46736"/>
                </a:lnTo>
                <a:lnTo>
                  <a:pt x="17399" y="56388"/>
                </a:lnTo>
                <a:lnTo>
                  <a:pt x="56515" y="43180"/>
                </a:lnTo>
                <a:lnTo>
                  <a:pt x="60451" y="23495"/>
                </a:lnTo>
                <a:lnTo>
                  <a:pt x="56134" y="15113"/>
                </a:lnTo>
                <a:lnTo>
                  <a:pt x="53213" y="9525"/>
                </a:lnTo>
                <a:lnTo>
                  <a:pt x="41783" y="1270"/>
                </a:lnTo>
                <a:lnTo>
                  <a:pt x="30607" y="0"/>
                </a:lnTo>
                <a:close/>
              </a:path>
            </a:pathLst>
          </a:custGeom>
          <a:solidFill>
            <a:srgbClr val="D9D9D9"/>
          </a:solidFill>
        </p:spPr>
        <p:txBody>
          <a:bodyPr wrap="square" lIns="0" tIns="0" rIns="0" bIns="0" rtlCol="0"/>
          <a:lstStyle/>
          <a:p>
            <a:endParaRPr/>
          </a:p>
        </p:txBody>
      </p:sp>
      <p:sp>
        <p:nvSpPr>
          <p:cNvPr id="105" name="object 105"/>
          <p:cNvSpPr/>
          <p:nvPr/>
        </p:nvSpPr>
        <p:spPr>
          <a:xfrm>
            <a:off x="8522462" y="4555998"/>
            <a:ext cx="52069" cy="55244"/>
          </a:xfrm>
          <a:custGeom>
            <a:avLst/>
            <a:gdLst/>
            <a:ahLst/>
            <a:cxnLst/>
            <a:rect l="l" t="t" r="r" b="b"/>
            <a:pathLst>
              <a:path w="52070" h="55245">
                <a:moveTo>
                  <a:pt x="29083" y="0"/>
                </a:moveTo>
                <a:lnTo>
                  <a:pt x="16510" y="3047"/>
                </a:lnTo>
                <a:lnTo>
                  <a:pt x="8128" y="7365"/>
                </a:lnTo>
                <a:lnTo>
                  <a:pt x="1143" y="14477"/>
                </a:lnTo>
                <a:lnTo>
                  <a:pt x="1270" y="21589"/>
                </a:lnTo>
                <a:lnTo>
                  <a:pt x="0" y="32765"/>
                </a:lnTo>
                <a:lnTo>
                  <a:pt x="5842" y="43941"/>
                </a:lnTo>
                <a:lnTo>
                  <a:pt x="25654" y="54863"/>
                </a:lnTo>
                <a:lnTo>
                  <a:pt x="35433" y="53339"/>
                </a:lnTo>
                <a:lnTo>
                  <a:pt x="49403" y="39115"/>
                </a:lnTo>
                <a:lnTo>
                  <a:pt x="52070" y="30606"/>
                </a:lnTo>
                <a:lnTo>
                  <a:pt x="51943" y="23621"/>
                </a:lnTo>
                <a:lnTo>
                  <a:pt x="50419" y="13843"/>
                </a:lnTo>
                <a:lnTo>
                  <a:pt x="44704" y="9651"/>
                </a:lnTo>
                <a:lnTo>
                  <a:pt x="37592" y="2793"/>
                </a:lnTo>
                <a:lnTo>
                  <a:pt x="29083" y="0"/>
                </a:lnTo>
                <a:close/>
              </a:path>
            </a:pathLst>
          </a:custGeom>
          <a:solidFill>
            <a:srgbClr val="D9D9D9"/>
          </a:solidFill>
        </p:spPr>
        <p:txBody>
          <a:bodyPr wrap="square" lIns="0" tIns="0" rIns="0" bIns="0" rtlCol="0"/>
          <a:lstStyle/>
          <a:p>
            <a:endParaRPr/>
          </a:p>
        </p:txBody>
      </p:sp>
      <p:sp>
        <p:nvSpPr>
          <p:cNvPr id="106" name="object 106"/>
          <p:cNvSpPr/>
          <p:nvPr/>
        </p:nvSpPr>
        <p:spPr>
          <a:xfrm>
            <a:off x="8522462" y="4555998"/>
            <a:ext cx="52069" cy="55244"/>
          </a:xfrm>
          <a:custGeom>
            <a:avLst/>
            <a:gdLst/>
            <a:ahLst/>
            <a:cxnLst/>
            <a:rect l="l" t="t" r="r" b="b"/>
            <a:pathLst>
              <a:path w="52070" h="55245">
                <a:moveTo>
                  <a:pt x="29083" y="0"/>
                </a:moveTo>
                <a:lnTo>
                  <a:pt x="16510" y="3047"/>
                </a:lnTo>
                <a:lnTo>
                  <a:pt x="8128" y="7365"/>
                </a:lnTo>
                <a:lnTo>
                  <a:pt x="1143" y="14477"/>
                </a:lnTo>
                <a:lnTo>
                  <a:pt x="1270" y="21589"/>
                </a:lnTo>
                <a:lnTo>
                  <a:pt x="0" y="32765"/>
                </a:lnTo>
                <a:lnTo>
                  <a:pt x="5842" y="43941"/>
                </a:lnTo>
                <a:lnTo>
                  <a:pt x="25654" y="54863"/>
                </a:lnTo>
                <a:lnTo>
                  <a:pt x="35433" y="53339"/>
                </a:lnTo>
                <a:lnTo>
                  <a:pt x="49403" y="39115"/>
                </a:lnTo>
                <a:lnTo>
                  <a:pt x="52070" y="30606"/>
                </a:lnTo>
                <a:lnTo>
                  <a:pt x="51943" y="23621"/>
                </a:lnTo>
                <a:lnTo>
                  <a:pt x="50419" y="13843"/>
                </a:lnTo>
                <a:lnTo>
                  <a:pt x="44704" y="9651"/>
                </a:lnTo>
                <a:lnTo>
                  <a:pt x="37592" y="2793"/>
                </a:lnTo>
                <a:lnTo>
                  <a:pt x="29083" y="0"/>
                </a:lnTo>
                <a:close/>
              </a:path>
            </a:pathLst>
          </a:custGeom>
          <a:solidFill>
            <a:srgbClr val="D9D9D9"/>
          </a:solidFill>
        </p:spPr>
        <p:txBody>
          <a:bodyPr wrap="square" lIns="0" tIns="0" rIns="0" bIns="0" rtlCol="0"/>
          <a:lstStyle/>
          <a:p>
            <a:endParaRPr/>
          </a:p>
        </p:txBody>
      </p:sp>
      <p:sp>
        <p:nvSpPr>
          <p:cNvPr id="107" name="object 107"/>
          <p:cNvSpPr/>
          <p:nvPr/>
        </p:nvSpPr>
        <p:spPr>
          <a:xfrm>
            <a:off x="8584183" y="2246503"/>
            <a:ext cx="135255" cy="139065"/>
          </a:xfrm>
          <a:custGeom>
            <a:avLst/>
            <a:gdLst/>
            <a:ahLst/>
            <a:cxnLst/>
            <a:rect l="l" t="t" r="r" b="b"/>
            <a:pathLst>
              <a:path w="135254" h="139064">
                <a:moveTo>
                  <a:pt x="58166" y="0"/>
                </a:moveTo>
                <a:lnTo>
                  <a:pt x="42799" y="4445"/>
                </a:lnTo>
                <a:lnTo>
                  <a:pt x="31623" y="10160"/>
                </a:lnTo>
                <a:lnTo>
                  <a:pt x="21971" y="18796"/>
                </a:lnTo>
                <a:lnTo>
                  <a:pt x="12192" y="27432"/>
                </a:lnTo>
                <a:lnTo>
                  <a:pt x="6731" y="37337"/>
                </a:lnTo>
                <a:lnTo>
                  <a:pt x="0" y="58420"/>
                </a:lnTo>
                <a:lnTo>
                  <a:pt x="381" y="79501"/>
                </a:lnTo>
                <a:lnTo>
                  <a:pt x="27686" y="125602"/>
                </a:lnTo>
                <a:lnTo>
                  <a:pt x="50419" y="135000"/>
                </a:lnTo>
                <a:lnTo>
                  <a:pt x="63119" y="139064"/>
                </a:lnTo>
                <a:lnTo>
                  <a:pt x="75692" y="136017"/>
                </a:lnTo>
                <a:lnTo>
                  <a:pt x="88265" y="133096"/>
                </a:lnTo>
                <a:lnTo>
                  <a:pt x="103632" y="128650"/>
                </a:lnTo>
                <a:lnTo>
                  <a:pt x="123063" y="111506"/>
                </a:lnTo>
                <a:lnTo>
                  <a:pt x="128524" y="101600"/>
                </a:lnTo>
                <a:lnTo>
                  <a:pt x="135255" y="80391"/>
                </a:lnTo>
                <a:lnTo>
                  <a:pt x="135000" y="59309"/>
                </a:lnTo>
                <a:lnTo>
                  <a:pt x="127635" y="38354"/>
                </a:lnTo>
                <a:lnTo>
                  <a:pt x="118999" y="21589"/>
                </a:lnTo>
                <a:lnTo>
                  <a:pt x="96266" y="5080"/>
                </a:lnTo>
                <a:lnTo>
                  <a:pt x="84359" y="1270"/>
                </a:lnTo>
                <a:lnTo>
                  <a:pt x="69469" y="1270"/>
                </a:lnTo>
                <a:lnTo>
                  <a:pt x="58166" y="0"/>
                </a:lnTo>
                <a:close/>
              </a:path>
              <a:path w="135254" h="139064">
                <a:moveTo>
                  <a:pt x="83566" y="1016"/>
                </a:moveTo>
                <a:lnTo>
                  <a:pt x="69469" y="1270"/>
                </a:lnTo>
                <a:lnTo>
                  <a:pt x="84359" y="1270"/>
                </a:lnTo>
                <a:lnTo>
                  <a:pt x="83566" y="1016"/>
                </a:lnTo>
                <a:close/>
              </a:path>
            </a:pathLst>
          </a:custGeom>
          <a:solidFill>
            <a:srgbClr val="D9D9D9"/>
          </a:solidFill>
        </p:spPr>
        <p:txBody>
          <a:bodyPr wrap="square" lIns="0" tIns="0" rIns="0" bIns="0" rtlCol="0"/>
          <a:lstStyle/>
          <a:p>
            <a:endParaRPr/>
          </a:p>
        </p:txBody>
      </p:sp>
      <p:sp>
        <p:nvSpPr>
          <p:cNvPr id="108" name="object 108"/>
          <p:cNvSpPr/>
          <p:nvPr/>
        </p:nvSpPr>
        <p:spPr>
          <a:xfrm>
            <a:off x="8584183" y="2246503"/>
            <a:ext cx="135255" cy="139065"/>
          </a:xfrm>
          <a:custGeom>
            <a:avLst/>
            <a:gdLst/>
            <a:ahLst/>
            <a:cxnLst/>
            <a:rect l="l" t="t" r="r" b="b"/>
            <a:pathLst>
              <a:path w="135254" h="139064">
                <a:moveTo>
                  <a:pt x="58166" y="0"/>
                </a:moveTo>
                <a:lnTo>
                  <a:pt x="42799" y="4445"/>
                </a:lnTo>
                <a:lnTo>
                  <a:pt x="31623" y="10160"/>
                </a:lnTo>
                <a:lnTo>
                  <a:pt x="21971" y="18796"/>
                </a:lnTo>
                <a:lnTo>
                  <a:pt x="12192" y="27432"/>
                </a:lnTo>
                <a:lnTo>
                  <a:pt x="6731" y="37337"/>
                </a:lnTo>
                <a:lnTo>
                  <a:pt x="0" y="58420"/>
                </a:lnTo>
                <a:lnTo>
                  <a:pt x="381" y="79501"/>
                </a:lnTo>
                <a:lnTo>
                  <a:pt x="27686" y="125602"/>
                </a:lnTo>
                <a:lnTo>
                  <a:pt x="50419" y="135000"/>
                </a:lnTo>
                <a:lnTo>
                  <a:pt x="63119" y="139064"/>
                </a:lnTo>
                <a:lnTo>
                  <a:pt x="75692" y="136017"/>
                </a:lnTo>
                <a:lnTo>
                  <a:pt x="88265" y="133096"/>
                </a:lnTo>
                <a:lnTo>
                  <a:pt x="103632" y="128650"/>
                </a:lnTo>
                <a:lnTo>
                  <a:pt x="123063" y="111506"/>
                </a:lnTo>
                <a:lnTo>
                  <a:pt x="128524" y="101600"/>
                </a:lnTo>
                <a:lnTo>
                  <a:pt x="135255" y="80391"/>
                </a:lnTo>
                <a:lnTo>
                  <a:pt x="135000" y="59309"/>
                </a:lnTo>
                <a:lnTo>
                  <a:pt x="127635" y="38354"/>
                </a:lnTo>
                <a:lnTo>
                  <a:pt x="118999" y="21589"/>
                </a:lnTo>
                <a:lnTo>
                  <a:pt x="96266" y="5080"/>
                </a:lnTo>
                <a:lnTo>
                  <a:pt x="84359" y="1270"/>
                </a:lnTo>
                <a:lnTo>
                  <a:pt x="69469" y="1270"/>
                </a:lnTo>
                <a:lnTo>
                  <a:pt x="58166" y="0"/>
                </a:lnTo>
                <a:close/>
              </a:path>
              <a:path w="135254" h="139064">
                <a:moveTo>
                  <a:pt x="83566" y="1016"/>
                </a:moveTo>
                <a:lnTo>
                  <a:pt x="69469" y="1270"/>
                </a:lnTo>
                <a:lnTo>
                  <a:pt x="84359" y="1270"/>
                </a:lnTo>
                <a:lnTo>
                  <a:pt x="83566" y="1016"/>
                </a:lnTo>
                <a:close/>
              </a:path>
            </a:pathLst>
          </a:custGeom>
          <a:solidFill>
            <a:srgbClr val="D9D9D9"/>
          </a:solidFill>
        </p:spPr>
        <p:txBody>
          <a:bodyPr wrap="square" lIns="0" tIns="0" rIns="0" bIns="0" rtlCol="0"/>
          <a:lstStyle/>
          <a:p>
            <a:endParaRPr/>
          </a:p>
        </p:txBody>
      </p:sp>
      <p:sp>
        <p:nvSpPr>
          <p:cNvPr id="109" name="object 109"/>
          <p:cNvSpPr/>
          <p:nvPr/>
        </p:nvSpPr>
        <p:spPr>
          <a:xfrm>
            <a:off x="8385048" y="2094739"/>
            <a:ext cx="122555" cy="125095"/>
          </a:xfrm>
          <a:custGeom>
            <a:avLst/>
            <a:gdLst/>
            <a:ahLst/>
            <a:cxnLst/>
            <a:rect l="l" t="t" r="r" b="b"/>
            <a:pathLst>
              <a:path w="122554" h="125094">
                <a:moveTo>
                  <a:pt x="65277" y="0"/>
                </a:moveTo>
                <a:lnTo>
                  <a:pt x="20574" y="16128"/>
                </a:lnTo>
                <a:lnTo>
                  <a:pt x="0" y="51562"/>
                </a:lnTo>
                <a:lnTo>
                  <a:pt x="253" y="72644"/>
                </a:lnTo>
                <a:lnTo>
                  <a:pt x="24765" y="113029"/>
                </a:lnTo>
                <a:lnTo>
                  <a:pt x="69976" y="124967"/>
                </a:lnTo>
                <a:lnTo>
                  <a:pt x="82550" y="122047"/>
                </a:lnTo>
                <a:lnTo>
                  <a:pt x="117348" y="93345"/>
                </a:lnTo>
                <a:lnTo>
                  <a:pt x="122300" y="55372"/>
                </a:lnTo>
                <a:lnTo>
                  <a:pt x="115061" y="34416"/>
                </a:lnTo>
                <a:lnTo>
                  <a:pt x="107823" y="20447"/>
                </a:lnTo>
                <a:lnTo>
                  <a:pt x="96393" y="12191"/>
                </a:lnTo>
                <a:lnTo>
                  <a:pt x="86486" y="6731"/>
                </a:lnTo>
                <a:lnTo>
                  <a:pt x="76580" y="1142"/>
                </a:lnTo>
                <a:lnTo>
                  <a:pt x="65277" y="0"/>
                </a:lnTo>
                <a:close/>
              </a:path>
            </a:pathLst>
          </a:custGeom>
          <a:solidFill>
            <a:srgbClr val="D9D9D9"/>
          </a:solidFill>
        </p:spPr>
        <p:txBody>
          <a:bodyPr wrap="square" lIns="0" tIns="0" rIns="0" bIns="0" rtlCol="0"/>
          <a:lstStyle/>
          <a:p>
            <a:endParaRPr/>
          </a:p>
        </p:txBody>
      </p:sp>
      <p:sp>
        <p:nvSpPr>
          <p:cNvPr id="110" name="object 110"/>
          <p:cNvSpPr/>
          <p:nvPr/>
        </p:nvSpPr>
        <p:spPr>
          <a:xfrm>
            <a:off x="8385048" y="2094739"/>
            <a:ext cx="122555" cy="125095"/>
          </a:xfrm>
          <a:custGeom>
            <a:avLst/>
            <a:gdLst/>
            <a:ahLst/>
            <a:cxnLst/>
            <a:rect l="l" t="t" r="r" b="b"/>
            <a:pathLst>
              <a:path w="122554" h="125094">
                <a:moveTo>
                  <a:pt x="65277" y="0"/>
                </a:moveTo>
                <a:lnTo>
                  <a:pt x="20574" y="16128"/>
                </a:lnTo>
                <a:lnTo>
                  <a:pt x="0" y="51562"/>
                </a:lnTo>
                <a:lnTo>
                  <a:pt x="253" y="72644"/>
                </a:lnTo>
                <a:lnTo>
                  <a:pt x="24765" y="113029"/>
                </a:lnTo>
                <a:lnTo>
                  <a:pt x="69976" y="124967"/>
                </a:lnTo>
                <a:lnTo>
                  <a:pt x="82550" y="122047"/>
                </a:lnTo>
                <a:lnTo>
                  <a:pt x="117348" y="93345"/>
                </a:lnTo>
                <a:lnTo>
                  <a:pt x="122300" y="55372"/>
                </a:lnTo>
                <a:lnTo>
                  <a:pt x="115061" y="34416"/>
                </a:lnTo>
                <a:lnTo>
                  <a:pt x="107823" y="20447"/>
                </a:lnTo>
                <a:lnTo>
                  <a:pt x="96393" y="12191"/>
                </a:lnTo>
                <a:lnTo>
                  <a:pt x="86486" y="6731"/>
                </a:lnTo>
                <a:lnTo>
                  <a:pt x="76580" y="1142"/>
                </a:lnTo>
                <a:lnTo>
                  <a:pt x="65277" y="0"/>
                </a:lnTo>
                <a:close/>
              </a:path>
            </a:pathLst>
          </a:custGeom>
          <a:solidFill>
            <a:srgbClr val="D9D9D9"/>
          </a:solidFill>
        </p:spPr>
        <p:txBody>
          <a:bodyPr wrap="square" lIns="0" tIns="0" rIns="0" bIns="0" rtlCol="0"/>
          <a:lstStyle/>
          <a:p>
            <a:endParaRPr/>
          </a:p>
        </p:txBody>
      </p:sp>
      <p:sp>
        <p:nvSpPr>
          <p:cNvPr id="111" name="object 111"/>
          <p:cNvSpPr/>
          <p:nvPr/>
        </p:nvSpPr>
        <p:spPr>
          <a:xfrm>
            <a:off x="8161146" y="1982978"/>
            <a:ext cx="113031" cy="111125"/>
          </a:xfrm>
          <a:custGeom>
            <a:avLst/>
            <a:gdLst/>
            <a:ahLst/>
            <a:cxnLst/>
            <a:rect l="l" t="t" r="r" b="b"/>
            <a:pathLst>
              <a:path w="113029" h="111125">
                <a:moveTo>
                  <a:pt x="47117" y="0"/>
                </a:moveTo>
                <a:lnTo>
                  <a:pt x="8254" y="27305"/>
                </a:lnTo>
                <a:lnTo>
                  <a:pt x="0" y="45720"/>
                </a:lnTo>
                <a:lnTo>
                  <a:pt x="1650" y="62611"/>
                </a:lnTo>
                <a:lnTo>
                  <a:pt x="34671" y="105663"/>
                </a:lnTo>
                <a:lnTo>
                  <a:pt x="65658" y="110871"/>
                </a:lnTo>
                <a:lnTo>
                  <a:pt x="75437" y="109220"/>
                </a:lnTo>
                <a:lnTo>
                  <a:pt x="86613" y="103505"/>
                </a:lnTo>
                <a:lnTo>
                  <a:pt x="93599" y="96393"/>
                </a:lnTo>
                <a:lnTo>
                  <a:pt x="107442" y="82042"/>
                </a:lnTo>
                <a:lnTo>
                  <a:pt x="112775" y="65150"/>
                </a:lnTo>
                <a:lnTo>
                  <a:pt x="111125" y="48260"/>
                </a:lnTo>
                <a:lnTo>
                  <a:pt x="105282" y="30099"/>
                </a:lnTo>
                <a:lnTo>
                  <a:pt x="98044" y="16129"/>
                </a:lnTo>
                <a:lnTo>
                  <a:pt x="88137" y="10668"/>
                </a:lnTo>
                <a:lnTo>
                  <a:pt x="80899" y="3810"/>
                </a:lnTo>
                <a:lnTo>
                  <a:pt x="47117" y="0"/>
                </a:lnTo>
                <a:close/>
              </a:path>
            </a:pathLst>
          </a:custGeom>
          <a:solidFill>
            <a:srgbClr val="D9D9D9"/>
          </a:solidFill>
        </p:spPr>
        <p:txBody>
          <a:bodyPr wrap="square" lIns="0" tIns="0" rIns="0" bIns="0" rtlCol="0"/>
          <a:lstStyle/>
          <a:p>
            <a:endParaRPr/>
          </a:p>
        </p:txBody>
      </p:sp>
      <p:sp>
        <p:nvSpPr>
          <p:cNvPr id="112" name="object 112"/>
          <p:cNvSpPr/>
          <p:nvPr/>
        </p:nvSpPr>
        <p:spPr>
          <a:xfrm>
            <a:off x="8161146" y="1982978"/>
            <a:ext cx="113031" cy="111125"/>
          </a:xfrm>
          <a:custGeom>
            <a:avLst/>
            <a:gdLst/>
            <a:ahLst/>
            <a:cxnLst/>
            <a:rect l="l" t="t" r="r" b="b"/>
            <a:pathLst>
              <a:path w="113029" h="111125">
                <a:moveTo>
                  <a:pt x="47117" y="0"/>
                </a:moveTo>
                <a:lnTo>
                  <a:pt x="8254" y="27305"/>
                </a:lnTo>
                <a:lnTo>
                  <a:pt x="0" y="45720"/>
                </a:lnTo>
                <a:lnTo>
                  <a:pt x="1650" y="62611"/>
                </a:lnTo>
                <a:lnTo>
                  <a:pt x="34671" y="105663"/>
                </a:lnTo>
                <a:lnTo>
                  <a:pt x="65658" y="110871"/>
                </a:lnTo>
                <a:lnTo>
                  <a:pt x="75437" y="109220"/>
                </a:lnTo>
                <a:lnTo>
                  <a:pt x="86613" y="103505"/>
                </a:lnTo>
                <a:lnTo>
                  <a:pt x="93599" y="96393"/>
                </a:lnTo>
                <a:lnTo>
                  <a:pt x="107442" y="82042"/>
                </a:lnTo>
                <a:lnTo>
                  <a:pt x="112775" y="65150"/>
                </a:lnTo>
                <a:lnTo>
                  <a:pt x="111125" y="48260"/>
                </a:lnTo>
                <a:lnTo>
                  <a:pt x="105282" y="30099"/>
                </a:lnTo>
                <a:lnTo>
                  <a:pt x="98044" y="16129"/>
                </a:lnTo>
                <a:lnTo>
                  <a:pt x="88137" y="10668"/>
                </a:lnTo>
                <a:lnTo>
                  <a:pt x="80899" y="3810"/>
                </a:lnTo>
                <a:lnTo>
                  <a:pt x="47117" y="0"/>
                </a:lnTo>
                <a:close/>
              </a:path>
            </a:pathLst>
          </a:custGeom>
          <a:solidFill>
            <a:srgbClr val="D9D9D9"/>
          </a:solidFill>
        </p:spPr>
        <p:txBody>
          <a:bodyPr wrap="square" lIns="0" tIns="0" rIns="0" bIns="0" rtlCol="0"/>
          <a:lstStyle/>
          <a:p>
            <a:endParaRPr/>
          </a:p>
        </p:txBody>
      </p:sp>
      <p:sp>
        <p:nvSpPr>
          <p:cNvPr id="113" name="object 113"/>
          <p:cNvSpPr/>
          <p:nvPr/>
        </p:nvSpPr>
        <p:spPr>
          <a:xfrm>
            <a:off x="7921372" y="1910588"/>
            <a:ext cx="100965" cy="101600"/>
          </a:xfrm>
          <a:custGeom>
            <a:avLst/>
            <a:gdLst/>
            <a:ahLst/>
            <a:cxnLst/>
            <a:rect l="l" t="t" r="r" b="b"/>
            <a:pathLst>
              <a:path w="100965" h="101600">
                <a:moveTo>
                  <a:pt x="51053" y="0"/>
                </a:moveTo>
                <a:lnTo>
                  <a:pt x="14731" y="11811"/>
                </a:lnTo>
                <a:lnTo>
                  <a:pt x="0" y="58420"/>
                </a:lnTo>
                <a:lnTo>
                  <a:pt x="4445" y="73787"/>
                </a:lnTo>
                <a:lnTo>
                  <a:pt x="12953" y="83565"/>
                </a:lnTo>
                <a:lnTo>
                  <a:pt x="20065" y="90424"/>
                </a:lnTo>
                <a:lnTo>
                  <a:pt x="30099" y="95885"/>
                </a:lnTo>
                <a:lnTo>
                  <a:pt x="46989" y="101346"/>
                </a:lnTo>
                <a:lnTo>
                  <a:pt x="66675" y="98171"/>
                </a:lnTo>
                <a:lnTo>
                  <a:pt x="99822" y="59689"/>
                </a:lnTo>
                <a:lnTo>
                  <a:pt x="100964" y="41401"/>
                </a:lnTo>
                <a:lnTo>
                  <a:pt x="87883" y="16383"/>
                </a:lnTo>
                <a:lnTo>
                  <a:pt x="80772" y="9398"/>
                </a:lnTo>
                <a:lnTo>
                  <a:pt x="70865" y="3937"/>
                </a:lnTo>
                <a:lnTo>
                  <a:pt x="51053" y="0"/>
                </a:lnTo>
                <a:close/>
              </a:path>
            </a:pathLst>
          </a:custGeom>
          <a:solidFill>
            <a:srgbClr val="D9D9D9"/>
          </a:solidFill>
        </p:spPr>
        <p:txBody>
          <a:bodyPr wrap="square" lIns="0" tIns="0" rIns="0" bIns="0" rtlCol="0"/>
          <a:lstStyle/>
          <a:p>
            <a:endParaRPr/>
          </a:p>
        </p:txBody>
      </p:sp>
      <p:sp>
        <p:nvSpPr>
          <p:cNvPr id="114" name="object 114"/>
          <p:cNvSpPr/>
          <p:nvPr/>
        </p:nvSpPr>
        <p:spPr>
          <a:xfrm>
            <a:off x="7921372" y="1910588"/>
            <a:ext cx="100965" cy="101600"/>
          </a:xfrm>
          <a:custGeom>
            <a:avLst/>
            <a:gdLst/>
            <a:ahLst/>
            <a:cxnLst/>
            <a:rect l="l" t="t" r="r" b="b"/>
            <a:pathLst>
              <a:path w="100965" h="101600">
                <a:moveTo>
                  <a:pt x="51053" y="0"/>
                </a:moveTo>
                <a:lnTo>
                  <a:pt x="14731" y="11811"/>
                </a:lnTo>
                <a:lnTo>
                  <a:pt x="0" y="58420"/>
                </a:lnTo>
                <a:lnTo>
                  <a:pt x="4445" y="73787"/>
                </a:lnTo>
                <a:lnTo>
                  <a:pt x="12953" y="83565"/>
                </a:lnTo>
                <a:lnTo>
                  <a:pt x="20065" y="90424"/>
                </a:lnTo>
                <a:lnTo>
                  <a:pt x="30099" y="95885"/>
                </a:lnTo>
                <a:lnTo>
                  <a:pt x="46989" y="101346"/>
                </a:lnTo>
                <a:lnTo>
                  <a:pt x="66675" y="98171"/>
                </a:lnTo>
                <a:lnTo>
                  <a:pt x="99822" y="59689"/>
                </a:lnTo>
                <a:lnTo>
                  <a:pt x="100964" y="41401"/>
                </a:lnTo>
                <a:lnTo>
                  <a:pt x="87883" y="16383"/>
                </a:lnTo>
                <a:lnTo>
                  <a:pt x="80772" y="9398"/>
                </a:lnTo>
                <a:lnTo>
                  <a:pt x="70865" y="3937"/>
                </a:lnTo>
                <a:lnTo>
                  <a:pt x="51053" y="0"/>
                </a:lnTo>
                <a:close/>
              </a:path>
            </a:pathLst>
          </a:custGeom>
          <a:solidFill>
            <a:srgbClr val="D9D9D9"/>
          </a:solidFill>
        </p:spPr>
        <p:txBody>
          <a:bodyPr wrap="square" lIns="0" tIns="0" rIns="0" bIns="0" rtlCol="0"/>
          <a:lstStyle/>
          <a:p>
            <a:endParaRPr/>
          </a:p>
        </p:txBody>
      </p:sp>
      <p:sp>
        <p:nvSpPr>
          <p:cNvPr id="115" name="object 115"/>
          <p:cNvSpPr/>
          <p:nvPr/>
        </p:nvSpPr>
        <p:spPr>
          <a:xfrm>
            <a:off x="7671816" y="1880616"/>
            <a:ext cx="88900" cy="90170"/>
          </a:xfrm>
          <a:custGeom>
            <a:avLst/>
            <a:gdLst/>
            <a:ahLst/>
            <a:cxnLst/>
            <a:rect l="l" t="t" r="r" b="b"/>
            <a:pathLst>
              <a:path w="88900" h="90169">
                <a:moveTo>
                  <a:pt x="44323" y="0"/>
                </a:moveTo>
                <a:lnTo>
                  <a:pt x="28955" y="4445"/>
                </a:lnTo>
                <a:lnTo>
                  <a:pt x="12191" y="13208"/>
                </a:lnTo>
                <a:lnTo>
                  <a:pt x="3936" y="24511"/>
                </a:lnTo>
                <a:lnTo>
                  <a:pt x="0" y="37211"/>
                </a:lnTo>
                <a:lnTo>
                  <a:pt x="126" y="51308"/>
                </a:lnTo>
                <a:lnTo>
                  <a:pt x="4572" y="66675"/>
                </a:lnTo>
                <a:lnTo>
                  <a:pt x="8889" y="75057"/>
                </a:lnTo>
                <a:lnTo>
                  <a:pt x="26034" y="87503"/>
                </a:lnTo>
                <a:lnTo>
                  <a:pt x="41528" y="90043"/>
                </a:lnTo>
                <a:lnTo>
                  <a:pt x="58292" y="88392"/>
                </a:lnTo>
                <a:lnTo>
                  <a:pt x="75056" y="79756"/>
                </a:lnTo>
                <a:lnTo>
                  <a:pt x="83311" y="68325"/>
                </a:lnTo>
                <a:lnTo>
                  <a:pt x="88773" y="51435"/>
                </a:lnTo>
                <a:lnTo>
                  <a:pt x="88518" y="37337"/>
                </a:lnTo>
                <a:lnTo>
                  <a:pt x="82676" y="26162"/>
                </a:lnTo>
                <a:lnTo>
                  <a:pt x="76961" y="14986"/>
                </a:lnTo>
                <a:lnTo>
                  <a:pt x="61340" y="5461"/>
                </a:lnTo>
                <a:lnTo>
                  <a:pt x="44323" y="0"/>
                </a:lnTo>
                <a:close/>
              </a:path>
            </a:pathLst>
          </a:custGeom>
          <a:solidFill>
            <a:srgbClr val="D9D9D9"/>
          </a:solidFill>
        </p:spPr>
        <p:txBody>
          <a:bodyPr wrap="square" lIns="0" tIns="0" rIns="0" bIns="0" rtlCol="0"/>
          <a:lstStyle/>
          <a:p>
            <a:endParaRPr/>
          </a:p>
        </p:txBody>
      </p:sp>
      <p:sp>
        <p:nvSpPr>
          <p:cNvPr id="116" name="object 116"/>
          <p:cNvSpPr/>
          <p:nvPr/>
        </p:nvSpPr>
        <p:spPr>
          <a:xfrm>
            <a:off x="7671816" y="1880616"/>
            <a:ext cx="88900" cy="90170"/>
          </a:xfrm>
          <a:custGeom>
            <a:avLst/>
            <a:gdLst/>
            <a:ahLst/>
            <a:cxnLst/>
            <a:rect l="l" t="t" r="r" b="b"/>
            <a:pathLst>
              <a:path w="88900" h="90169">
                <a:moveTo>
                  <a:pt x="44323" y="0"/>
                </a:moveTo>
                <a:lnTo>
                  <a:pt x="28955" y="4445"/>
                </a:lnTo>
                <a:lnTo>
                  <a:pt x="12191" y="13208"/>
                </a:lnTo>
                <a:lnTo>
                  <a:pt x="3936" y="24511"/>
                </a:lnTo>
                <a:lnTo>
                  <a:pt x="0" y="37211"/>
                </a:lnTo>
                <a:lnTo>
                  <a:pt x="126" y="51308"/>
                </a:lnTo>
                <a:lnTo>
                  <a:pt x="4572" y="66675"/>
                </a:lnTo>
                <a:lnTo>
                  <a:pt x="8889" y="75057"/>
                </a:lnTo>
                <a:lnTo>
                  <a:pt x="26034" y="87503"/>
                </a:lnTo>
                <a:lnTo>
                  <a:pt x="41528" y="90043"/>
                </a:lnTo>
                <a:lnTo>
                  <a:pt x="58292" y="88392"/>
                </a:lnTo>
                <a:lnTo>
                  <a:pt x="75056" y="79756"/>
                </a:lnTo>
                <a:lnTo>
                  <a:pt x="83311" y="68325"/>
                </a:lnTo>
                <a:lnTo>
                  <a:pt x="88773" y="51435"/>
                </a:lnTo>
                <a:lnTo>
                  <a:pt x="88518" y="37337"/>
                </a:lnTo>
                <a:lnTo>
                  <a:pt x="82676" y="26162"/>
                </a:lnTo>
                <a:lnTo>
                  <a:pt x="76961" y="14986"/>
                </a:lnTo>
                <a:lnTo>
                  <a:pt x="61340" y="5461"/>
                </a:lnTo>
                <a:lnTo>
                  <a:pt x="44323" y="0"/>
                </a:lnTo>
                <a:close/>
              </a:path>
            </a:pathLst>
          </a:custGeom>
          <a:solidFill>
            <a:srgbClr val="D9D9D9"/>
          </a:solidFill>
        </p:spPr>
        <p:txBody>
          <a:bodyPr wrap="square" lIns="0" tIns="0" rIns="0" bIns="0" rtlCol="0"/>
          <a:lstStyle/>
          <a:p>
            <a:endParaRPr/>
          </a:p>
        </p:txBody>
      </p:sp>
      <p:sp>
        <p:nvSpPr>
          <p:cNvPr id="117" name="object 117"/>
          <p:cNvSpPr/>
          <p:nvPr/>
        </p:nvSpPr>
        <p:spPr>
          <a:xfrm>
            <a:off x="7416039" y="1897127"/>
            <a:ext cx="81914" cy="80645"/>
          </a:xfrm>
          <a:custGeom>
            <a:avLst/>
            <a:gdLst/>
            <a:ahLst/>
            <a:cxnLst/>
            <a:rect l="l" t="t" r="r" b="b"/>
            <a:pathLst>
              <a:path w="81915" h="80644">
                <a:moveTo>
                  <a:pt x="43179" y="0"/>
                </a:moveTo>
                <a:lnTo>
                  <a:pt x="26288" y="1650"/>
                </a:lnTo>
                <a:lnTo>
                  <a:pt x="13842" y="11684"/>
                </a:lnTo>
                <a:lnTo>
                  <a:pt x="4063" y="20320"/>
                </a:lnTo>
                <a:lnTo>
                  <a:pt x="0" y="33020"/>
                </a:lnTo>
                <a:lnTo>
                  <a:pt x="253" y="46989"/>
                </a:lnTo>
                <a:lnTo>
                  <a:pt x="6095" y="58165"/>
                </a:lnTo>
                <a:lnTo>
                  <a:pt x="10413" y="66548"/>
                </a:lnTo>
                <a:lnTo>
                  <a:pt x="23240" y="77597"/>
                </a:lnTo>
                <a:lnTo>
                  <a:pt x="38734" y="80263"/>
                </a:lnTo>
                <a:lnTo>
                  <a:pt x="55498" y="78612"/>
                </a:lnTo>
                <a:lnTo>
                  <a:pt x="69468" y="71374"/>
                </a:lnTo>
                <a:lnTo>
                  <a:pt x="77723" y="59944"/>
                </a:lnTo>
                <a:lnTo>
                  <a:pt x="81787" y="47244"/>
                </a:lnTo>
                <a:lnTo>
                  <a:pt x="81533" y="33147"/>
                </a:lnTo>
                <a:lnTo>
                  <a:pt x="78612" y="20574"/>
                </a:lnTo>
                <a:lnTo>
                  <a:pt x="71500" y="13715"/>
                </a:lnTo>
                <a:lnTo>
                  <a:pt x="58673" y="2539"/>
                </a:lnTo>
                <a:lnTo>
                  <a:pt x="43179" y="0"/>
                </a:lnTo>
                <a:close/>
              </a:path>
            </a:pathLst>
          </a:custGeom>
          <a:solidFill>
            <a:srgbClr val="D9D9D9"/>
          </a:solidFill>
        </p:spPr>
        <p:txBody>
          <a:bodyPr wrap="square" lIns="0" tIns="0" rIns="0" bIns="0" rtlCol="0"/>
          <a:lstStyle/>
          <a:p>
            <a:endParaRPr/>
          </a:p>
        </p:txBody>
      </p:sp>
      <p:sp>
        <p:nvSpPr>
          <p:cNvPr id="118" name="object 118"/>
          <p:cNvSpPr/>
          <p:nvPr/>
        </p:nvSpPr>
        <p:spPr>
          <a:xfrm>
            <a:off x="7416039" y="1897127"/>
            <a:ext cx="81914" cy="80645"/>
          </a:xfrm>
          <a:custGeom>
            <a:avLst/>
            <a:gdLst/>
            <a:ahLst/>
            <a:cxnLst/>
            <a:rect l="l" t="t" r="r" b="b"/>
            <a:pathLst>
              <a:path w="81915" h="80644">
                <a:moveTo>
                  <a:pt x="43179" y="0"/>
                </a:moveTo>
                <a:lnTo>
                  <a:pt x="26288" y="1650"/>
                </a:lnTo>
                <a:lnTo>
                  <a:pt x="13842" y="11684"/>
                </a:lnTo>
                <a:lnTo>
                  <a:pt x="4063" y="20320"/>
                </a:lnTo>
                <a:lnTo>
                  <a:pt x="0" y="33020"/>
                </a:lnTo>
                <a:lnTo>
                  <a:pt x="253" y="46989"/>
                </a:lnTo>
                <a:lnTo>
                  <a:pt x="6095" y="58165"/>
                </a:lnTo>
                <a:lnTo>
                  <a:pt x="10413" y="66548"/>
                </a:lnTo>
                <a:lnTo>
                  <a:pt x="23240" y="77597"/>
                </a:lnTo>
                <a:lnTo>
                  <a:pt x="38734" y="80263"/>
                </a:lnTo>
                <a:lnTo>
                  <a:pt x="55498" y="78612"/>
                </a:lnTo>
                <a:lnTo>
                  <a:pt x="69468" y="71374"/>
                </a:lnTo>
                <a:lnTo>
                  <a:pt x="77723" y="59944"/>
                </a:lnTo>
                <a:lnTo>
                  <a:pt x="81787" y="47244"/>
                </a:lnTo>
                <a:lnTo>
                  <a:pt x="81533" y="33147"/>
                </a:lnTo>
                <a:lnTo>
                  <a:pt x="78612" y="20574"/>
                </a:lnTo>
                <a:lnTo>
                  <a:pt x="71500" y="13715"/>
                </a:lnTo>
                <a:lnTo>
                  <a:pt x="58673" y="2539"/>
                </a:lnTo>
                <a:lnTo>
                  <a:pt x="43179" y="0"/>
                </a:lnTo>
                <a:close/>
              </a:path>
            </a:pathLst>
          </a:custGeom>
          <a:solidFill>
            <a:srgbClr val="D9D9D9"/>
          </a:solidFill>
        </p:spPr>
        <p:txBody>
          <a:bodyPr wrap="square" lIns="0" tIns="0" rIns="0" bIns="0" rtlCol="0"/>
          <a:lstStyle/>
          <a:p>
            <a:endParaRPr/>
          </a:p>
        </p:txBody>
      </p:sp>
      <p:sp>
        <p:nvSpPr>
          <p:cNvPr id="119" name="object 119"/>
          <p:cNvSpPr/>
          <p:nvPr/>
        </p:nvSpPr>
        <p:spPr>
          <a:xfrm>
            <a:off x="7168260" y="1957070"/>
            <a:ext cx="74931" cy="73660"/>
          </a:xfrm>
          <a:custGeom>
            <a:avLst/>
            <a:gdLst/>
            <a:ahLst/>
            <a:cxnLst/>
            <a:rect l="l" t="t" r="r" b="b"/>
            <a:pathLst>
              <a:path w="74929" h="73660">
                <a:moveTo>
                  <a:pt x="38735" y="0"/>
                </a:moveTo>
                <a:lnTo>
                  <a:pt x="1270" y="30099"/>
                </a:lnTo>
                <a:lnTo>
                  <a:pt x="0" y="41401"/>
                </a:lnTo>
                <a:lnTo>
                  <a:pt x="5842" y="52577"/>
                </a:lnTo>
                <a:lnTo>
                  <a:pt x="10160" y="60959"/>
                </a:lnTo>
                <a:lnTo>
                  <a:pt x="21590" y="69214"/>
                </a:lnTo>
                <a:lnTo>
                  <a:pt x="34290" y="73151"/>
                </a:lnTo>
                <a:lnTo>
                  <a:pt x="49657" y="68706"/>
                </a:lnTo>
                <a:lnTo>
                  <a:pt x="60833" y="62991"/>
                </a:lnTo>
                <a:lnTo>
                  <a:pt x="69088" y="51562"/>
                </a:lnTo>
                <a:lnTo>
                  <a:pt x="74549" y="41655"/>
                </a:lnTo>
                <a:lnTo>
                  <a:pt x="71500" y="29082"/>
                </a:lnTo>
                <a:lnTo>
                  <a:pt x="69977" y="19303"/>
                </a:lnTo>
                <a:lnTo>
                  <a:pt x="65659" y="10921"/>
                </a:lnTo>
                <a:lnTo>
                  <a:pt x="51435" y="4063"/>
                </a:lnTo>
                <a:lnTo>
                  <a:pt x="38735" y="0"/>
                </a:lnTo>
                <a:close/>
              </a:path>
            </a:pathLst>
          </a:custGeom>
          <a:solidFill>
            <a:srgbClr val="D9D9D9"/>
          </a:solidFill>
        </p:spPr>
        <p:txBody>
          <a:bodyPr wrap="square" lIns="0" tIns="0" rIns="0" bIns="0" rtlCol="0"/>
          <a:lstStyle/>
          <a:p>
            <a:endParaRPr/>
          </a:p>
        </p:txBody>
      </p:sp>
      <p:sp>
        <p:nvSpPr>
          <p:cNvPr id="120" name="object 120"/>
          <p:cNvSpPr/>
          <p:nvPr/>
        </p:nvSpPr>
        <p:spPr>
          <a:xfrm>
            <a:off x="7168260" y="1957070"/>
            <a:ext cx="74931" cy="73660"/>
          </a:xfrm>
          <a:custGeom>
            <a:avLst/>
            <a:gdLst/>
            <a:ahLst/>
            <a:cxnLst/>
            <a:rect l="l" t="t" r="r" b="b"/>
            <a:pathLst>
              <a:path w="74929" h="73660">
                <a:moveTo>
                  <a:pt x="38735" y="0"/>
                </a:moveTo>
                <a:lnTo>
                  <a:pt x="1270" y="30099"/>
                </a:lnTo>
                <a:lnTo>
                  <a:pt x="0" y="41401"/>
                </a:lnTo>
                <a:lnTo>
                  <a:pt x="5842" y="52577"/>
                </a:lnTo>
                <a:lnTo>
                  <a:pt x="10160" y="60959"/>
                </a:lnTo>
                <a:lnTo>
                  <a:pt x="21590" y="69214"/>
                </a:lnTo>
                <a:lnTo>
                  <a:pt x="34290" y="73151"/>
                </a:lnTo>
                <a:lnTo>
                  <a:pt x="49657" y="68706"/>
                </a:lnTo>
                <a:lnTo>
                  <a:pt x="60833" y="62991"/>
                </a:lnTo>
                <a:lnTo>
                  <a:pt x="69088" y="51562"/>
                </a:lnTo>
                <a:lnTo>
                  <a:pt x="74549" y="41655"/>
                </a:lnTo>
                <a:lnTo>
                  <a:pt x="71500" y="29082"/>
                </a:lnTo>
                <a:lnTo>
                  <a:pt x="69977" y="19303"/>
                </a:lnTo>
                <a:lnTo>
                  <a:pt x="65659" y="10921"/>
                </a:lnTo>
                <a:lnTo>
                  <a:pt x="51435" y="4063"/>
                </a:lnTo>
                <a:lnTo>
                  <a:pt x="38735" y="0"/>
                </a:lnTo>
                <a:close/>
              </a:path>
            </a:pathLst>
          </a:custGeom>
          <a:solidFill>
            <a:srgbClr val="D9D9D9"/>
          </a:solidFill>
        </p:spPr>
        <p:txBody>
          <a:bodyPr wrap="square" lIns="0" tIns="0" rIns="0" bIns="0" rtlCol="0"/>
          <a:lstStyle/>
          <a:p>
            <a:endParaRPr/>
          </a:p>
        </p:txBody>
      </p:sp>
      <p:sp>
        <p:nvSpPr>
          <p:cNvPr id="121" name="object 121"/>
          <p:cNvSpPr/>
          <p:nvPr/>
        </p:nvSpPr>
        <p:spPr>
          <a:xfrm>
            <a:off x="6932170" y="2059052"/>
            <a:ext cx="67945" cy="66675"/>
          </a:xfrm>
          <a:custGeom>
            <a:avLst/>
            <a:gdLst/>
            <a:ahLst/>
            <a:cxnLst/>
            <a:rect l="l" t="t" r="r" b="b"/>
            <a:pathLst>
              <a:path w="67945" h="66675">
                <a:moveTo>
                  <a:pt x="37464" y="0"/>
                </a:moveTo>
                <a:lnTo>
                  <a:pt x="23367" y="253"/>
                </a:lnTo>
                <a:lnTo>
                  <a:pt x="12191" y="5969"/>
                </a:lnTo>
                <a:lnTo>
                  <a:pt x="1270" y="25781"/>
                </a:lnTo>
                <a:lnTo>
                  <a:pt x="0" y="37084"/>
                </a:lnTo>
                <a:lnTo>
                  <a:pt x="5841" y="48260"/>
                </a:lnTo>
                <a:lnTo>
                  <a:pt x="8635" y="53848"/>
                </a:lnTo>
                <a:lnTo>
                  <a:pt x="20065" y="62102"/>
                </a:lnTo>
                <a:lnTo>
                  <a:pt x="32765" y="66166"/>
                </a:lnTo>
                <a:lnTo>
                  <a:pt x="45338" y="63119"/>
                </a:lnTo>
                <a:lnTo>
                  <a:pt x="56514" y="57403"/>
                </a:lnTo>
                <a:lnTo>
                  <a:pt x="61975" y="47371"/>
                </a:lnTo>
                <a:lnTo>
                  <a:pt x="67436" y="37464"/>
                </a:lnTo>
                <a:lnTo>
                  <a:pt x="64388" y="17907"/>
                </a:lnTo>
                <a:lnTo>
                  <a:pt x="60071" y="9525"/>
                </a:lnTo>
                <a:lnTo>
                  <a:pt x="48640" y="1270"/>
                </a:lnTo>
                <a:lnTo>
                  <a:pt x="37464" y="0"/>
                </a:lnTo>
                <a:close/>
              </a:path>
            </a:pathLst>
          </a:custGeom>
          <a:solidFill>
            <a:srgbClr val="D9D9D9"/>
          </a:solidFill>
        </p:spPr>
        <p:txBody>
          <a:bodyPr wrap="square" lIns="0" tIns="0" rIns="0" bIns="0" rtlCol="0"/>
          <a:lstStyle/>
          <a:p>
            <a:endParaRPr/>
          </a:p>
        </p:txBody>
      </p:sp>
      <p:sp>
        <p:nvSpPr>
          <p:cNvPr id="122" name="object 122"/>
          <p:cNvSpPr/>
          <p:nvPr/>
        </p:nvSpPr>
        <p:spPr>
          <a:xfrm>
            <a:off x="6932170" y="2059052"/>
            <a:ext cx="67945" cy="66675"/>
          </a:xfrm>
          <a:custGeom>
            <a:avLst/>
            <a:gdLst/>
            <a:ahLst/>
            <a:cxnLst/>
            <a:rect l="l" t="t" r="r" b="b"/>
            <a:pathLst>
              <a:path w="67945" h="66675">
                <a:moveTo>
                  <a:pt x="37464" y="0"/>
                </a:moveTo>
                <a:lnTo>
                  <a:pt x="23367" y="253"/>
                </a:lnTo>
                <a:lnTo>
                  <a:pt x="12191" y="5969"/>
                </a:lnTo>
                <a:lnTo>
                  <a:pt x="1270" y="25781"/>
                </a:lnTo>
                <a:lnTo>
                  <a:pt x="0" y="37084"/>
                </a:lnTo>
                <a:lnTo>
                  <a:pt x="5841" y="48260"/>
                </a:lnTo>
                <a:lnTo>
                  <a:pt x="8635" y="53848"/>
                </a:lnTo>
                <a:lnTo>
                  <a:pt x="20065" y="62102"/>
                </a:lnTo>
                <a:lnTo>
                  <a:pt x="32765" y="66166"/>
                </a:lnTo>
                <a:lnTo>
                  <a:pt x="45338" y="63119"/>
                </a:lnTo>
                <a:lnTo>
                  <a:pt x="56514" y="57403"/>
                </a:lnTo>
                <a:lnTo>
                  <a:pt x="61975" y="47371"/>
                </a:lnTo>
                <a:lnTo>
                  <a:pt x="67436" y="37464"/>
                </a:lnTo>
                <a:lnTo>
                  <a:pt x="64388" y="17907"/>
                </a:lnTo>
                <a:lnTo>
                  <a:pt x="60071" y="9525"/>
                </a:lnTo>
                <a:lnTo>
                  <a:pt x="48640" y="1270"/>
                </a:lnTo>
                <a:lnTo>
                  <a:pt x="37464" y="0"/>
                </a:lnTo>
                <a:close/>
              </a:path>
            </a:pathLst>
          </a:custGeom>
          <a:solidFill>
            <a:srgbClr val="D9D9D9"/>
          </a:solidFill>
        </p:spPr>
        <p:txBody>
          <a:bodyPr wrap="square" lIns="0" tIns="0" rIns="0" bIns="0" rtlCol="0"/>
          <a:lstStyle/>
          <a:p>
            <a:endParaRPr/>
          </a:p>
        </p:txBody>
      </p:sp>
      <p:sp>
        <p:nvSpPr>
          <p:cNvPr id="123" name="object 123"/>
          <p:cNvSpPr/>
          <p:nvPr/>
        </p:nvSpPr>
        <p:spPr>
          <a:xfrm>
            <a:off x="6719062" y="2200276"/>
            <a:ext cx="57785" cy="59055"/>
          </a:xfrm>
          <a:custGeom>
            <a:avLst/>
            <a:gdLst/>
            <a:ahLst/>
            <a:cxnLst/>
            <a:rect l="l" t="t" r="r" b="b"/>
            <a:pathLst>
              <a:path w="57784" h="59055">
                <a:moveTo>
                  <a:pt x="19304" y="0"/>
                </a:moveTo>
                <a:lnTo>
                  <a:pt x="9525" y="8509"/>
                </a:lnTo>
                <a:lnTo>
                  <a:pt x="2667" y="15621"/>
                </a:lnTo>
                <a:lnTo>
                  <a:pt x="0" y="24129"/>
                </a:lnTo>
                <a:lnTo>
                  <a:pt x="3048" y="43814"/>
                </a:lnTo>
                <a:lnTo>
                  <a:pt x="5969" y="49402"/>
                </a:lnTo>
                <a:lnTo>
                  <a:pt x="17272" y="57658"/>
                </a:lnTo>
                <a:lnTo>
                  <a:pt x="28575" y="58800"/>
                </a:lnTo>
                <a:lnTo>
                  <a:pt x="38354" y="57276"/>
                </a:lnTo>
                <a:lnTo>
                  <a:pt x="49530" y="51562"/>
                </a:lnTo>
                <a:lnTo>
                  <a:pt x="56515" y="44450"/>
                </a:lnTo>
                <a:lnTo>
                  <a:pt x="57658" y="33147"/>
                </a:lnTo>
                <a:lnTo>
                  <a:pt x="57658" y="26162"/>
                </a:lnTo>
                <a:lnTo>
                  <a:pt x="19304" y="0"/>
                </a:lnTo>
                <a:close/>
              </a:path>
            </a:pathLst>
          </a:custGeom>
          <a:solidFill>
            <a:srgbClr val="D9D9D9"/>
          </a:solidFill>
        </p:spPr>
        <p:txBody>
          <a:bodyPr wrap="square" lIns="0" tIns="0" rIns="0" bIns="0" rtlCol="0"/>
          <a:lstStyle/>
          <a:p>
            <a:endParaRPr/>
          </a:p>
        </p:txBody>
      </p:sp>
      <p:sp>
        <p:nvSpPr>
          <p:cNvPr id="124" name="object 124"/>
          <p:cNvSpPr/>
          <p:nvPr/>
        </p:nvSpPr>
        <p:spPr>
          <a:xfrm>
            <a:off x="6719062" y="2200276"/>
            <a:ext cx="57785" cy="59055"/>
          </a:xfrm>
          <a:custGeom>
            <a:avLst/>
            <a:gdLst/>
            <a:ahLst/>
            <a:cxnLst/>
            <a:rect l="l" t="t" r="r" b="b"/>
            <a:pathLst>
              <a:path w="57784" h="59055">
                <a:moveTo>
                  <a:pt x="19304" y="0"/>
                </a:moveTo>
                <a:lnTo>
                  <a:pt x="9525" y="8509"/>
                </a:lnTo>
                <a:lnTo>
                  <a:pt x="2667" y="15621"/>
                </a:lnTo>
                <a:lnTo>
                  <a:pt x="0" y="24129"/>
                </a:lnTo>
                <a:lnTo>
                  <a:pt x="3048" y="43814"/>
                </a:lnTo>
                <a:lnTo>
                  <a:pt x="5969" y="49402"/>
                </a:lnTo>
                <a:lnTo>
                  <a:pt x="17272" y="57658"/>
                </a:lnTo>
                <a:lnTo>
                  <a:pt x="28575" y="58800"/>
                </a:lnTo>
                <a:lnTo>
                  <a:pt x="38354" y="57276"/>
                </a:lnTo>
                <a:lnTo>
                  <a:pt x="49530" y="51562"/>
                </a:lnTo>
                <a:lnTo>
                  <a:pt x="56515" y="44450"/>
                </a:lnTo>
                <a:lnTo>
                  <a:pt x="57658" y="33147"/>
                </a:lnTo>
                <a:lnTo>
                  <a:pt x="57658" y="26162"/>
                </a:lnTo>
                <a:lnTo>
                  <a:pt x="19304" y="0"/>
                </a:lnTo>
                <a:close/>
              </a:path>
            </a:pathLst>
          </a:custGeom>
          <a:solidFill>
            <a:srgbClr val="D9D9D9"/>
          </a:solidFill>
        </p:spPr>
        <p:txBody>
          <a:bodyPr wrap="square" lIns="0" tIns="0" rIns="0" bIns="0" rtlCol="0"/>
          <a:lstStyle/>
          <a:p>
            <a:endParaRPr/>
          </a:p>
        </p:txBody>
      </p:sp>
      <p:sp>
        <p:nvSpPr>
          <p:cNvPr id="125" name="object 125"/>
          <p:cNvSpPr/>
          <p:nvPr/>
        </p:nvSpPr>
        <p:spPr>
          <a:xfrm>
            <a:off x="6530468" y="2378582"/>
            <a:ext cx="53975" cy="50800"/>
          </a:xfrm>
          <a:custGeom>
            <a:avLst/>
            <a:gdLst/>
            <a:ahLst/>
            <a:cxnLst/>
            <a:rect l="l" t="t" r="r" b="b"/>
            <a:pathLst>
              <a:path w="53975" h="50800">
                <a:moveTo>
                  <a:pt x="27812" y="0"/>
                </a:moveTo>
                <a:lnTo>
                  <a:pt x="17906" y="1650"/>
                </a:lnTo>
                <a:lnTo>
                  <a:pt x="9525" y="5968"/>
                </a:lnTo>
                <a:lnTo>
                  <a:pt x="2666" y="13080"/>
                </a:lnTo>
                <a:lnTo>
                  <a:pt x="0" y="21589"/>
                </a:lnTo>
                <a:lnTo>
                  <a:pt x="126" y="28575"/>
                </a:lnTo>
                <a:lnTo>
                  <a:pt x="4444" y="36956"/>
                </a:lnTo>
                <a:lnTo>
                  <a:pt x="7365" y="42544"/>
                </a:lnTo>
                <a:lnTo>
                  <a:pt x="14477" y="49402"/>
                </a:lnTo>
                <a:lnTo>
                  <a:pt x="25653" y="50672"/>
                </a:lnTo>
                <a:lnTo>
                  <a:pt x="35559" y="49149"/>
                </a:lnTo>
                <a:lnTo>
                  <a:pt x="43941" y="44830"/>
                </a:lnTo>
                <a:lnTo>
                  <a:pt x="50800" y="37591"/>
                </a:lnTo>
                <a:lnTo>
                  <a:pt x="53466" y="29209"/>
                </a:lnTo>
                <a:lnTo>
                  <a:pt x="53339" y="22097"/>
                </a:lnTo>
                <a:lnTo>
                  <a:pt x="51815" y="12318"/>
                </a:lnTo>
                <a:lnTo>
                  <a:pt x="46100" y="8254"/>
                </a:lnTo>
                <a:lnTo>
                  <a:pt x="38988" y="1269"/>
                </a:lnTo>
                <a:lnTo>
                  <a:pt x="27812" y="0"/>
                </a:lnTo>
                <a:close/>
              </a:path>
            </a:pathLst>
          </a:custGeom>
          <a:solidFill>
            <a:srgbClr val="D9D9D9"/>
          </a:solidFill>
        </p:spPr>
        <p:txBody>
          <a:bodyPr wrap="square" lIns="0" tIns="0" rIns="0" bIns="0" rtlCol="0"/>
          <a:lstStyle/>
          <a:p>
            <a:endParaRPr/>
          </a:p>
        </p:txBody>
      </p:sp>
      <p:sp>
        <p:nvSpPr>
          <p:cNvPr id="126" name="object 126"/>
          <p:cNvSpPr/>
          <p:nvPr/>
        </p:nvSpPr>
        <p:spPr>
          <a:xfrm>
            <a:off x="6530468" y="2378582"/>
            <a:ext cx="53975" cy="50800"/>
          </a:xfrm>
          <a:custGeom>
            <a:avLst/>
            <a:gdLst/>
            <a:ahLst/>
            <a:cxnLst/>
            <a:rect l="l" t="t" r="r" b="b"/>
            <a:pathLst>
              <a:path w="53975" h="50800">
                <a:moveTo>
                  <a:pt x="27812" y="0"/>
                </a:moveTo>
                <a:lnTo>
                  <a:pt x="17906" y="1650"/>
                </a:lnTo>
                <a:lnTo>
                  <a:pt x="9525" y="5968"/>
                </a:lnTo>
                <a:lnTo>
                  <a:pt x="2666" y="13080"/>
                </a:lnTo>
                <a:lnTo>
                  <a:pt x="0" y="21589"/>
                </a:lnTo>
                <a:lnTo>
                  <a:pt x="126" y="28575"/>
                </a:lnTo>
                <a:lnTo>
                  <a:pt x="4444" y="36956"/>
                </a:lnTo>
                <a:lnTo>
                  <a:pt x="7365" y="42544"/>
                </a:lnTo>
                <a:lnTo>
                  <a:pt x="14477" y="49402"/>
                </a:lnTo>
                <a:lnTo>
                  <a:pt x="25653" y="50672"/>
                </a:lnTo>
                <a:lnTo>
                  <a:pt x="35559" y="49149"/>
                </a:lnTo>
                <a:lnTo>
                  <a:pt x="43941" y="44830"/>
                </a:lnTo>
                <a:lnTo>
                  <a:pt x="50800" y="37591"/>
                </a:lnTo>
                <a:lnTo>
                  <a:pt x="53466" y="29209"/>
                </a:lnTo>
                <a:lnTo>
                  <a:pt x="53339" y="22097"/>
                </a:lnTo>
                <a:lnTo>
                  <a:pt x="51815" y="12318"/>
                </a:lnTo>
                <a:lnTo>
                  <a:pt x="46100" y="8254"/>
                </a:lnTo>
                <a:lnTo>
                  <a:pt x="38988" y="1269"/>
                </a:lnTo>
                <a:lnTo>
                  <a:pt x="27812" y="0"/>
                </a:lnTo>
                <a:close/>
              </a:path>
            </a:pathLst>
          </a:custGeom>
          <a:solidFill>
            <a:srgbClr val="D9D9D9"/>
          </a:solidFill>
        </p:spPr>
        <p:txBody>
          <a:bodyPr wrap="square" lIns="0" tIns="0" rIns="0" bIns="0" rtlCol="0"/>
          <a:lstStyle/>
          <a:p>
            <a:endParaRPr/>
          </a:p>
        </p:txBody>
      </p:sp>
      <p:sp>
        <p:nvSpPr>
          <p:cNvPr id="127" name="object 127"/>
          <p:cNvSpPr/>
          <p:nvPr/>
        </p:nvSpPr>
        <p:spPr>
          <a:xfrm>
            <a:off x="8073136" y="2185035"/>
            <a:ext cx="118109" cy="118110"/>
          </a:xfrm>
          <a:custGeom>
            <a:avLst/>
            <a:gdLst/>
            <a:ahLst/>
            <a:cxnLst/>
            <a:rect l="l" t="t" r="r" b="b"/>
            <a:pathLst>
              <a:path w="118109" h="118110">
                <a:moveTo>
                  <a:pt x="66421" y="0"/>
                </a:moveTo>
                <a:lnTo>
                  <a:pt x="23114" y="11937"/>
                </a:lnTo>
                <a:lnTo>
                  <a:pt x="7874" y="30479"/>
                </a:lnTo>
                <a:lnTo>
                  <a:pt x="2413" y="40386"/>
                </a:lnTo>
                <a:lnTo>
                  <a:pt x="1143" y="51562"/>
                </a:lnTo>
                <a:lnTo>
                  <a:pt x="0" y="62864"/>
                </a:lnTo>
                <a:lnTo>
                  <a:pt x="2921" y="75437"/>
                </a:lnTo>
                <a:lnTo>
                  <a:pt x="31623" y="110236"/>
                </a:lnTo>
                <a:lnTo>
                  <a:pt x="64008" y="118110"/>
                </a:lnTo>
                <a:lnTo>
                  <a:pt x="76581" y="115188"/>
                </a:lnTo>
                <a:lnTo>
                  <a:pt x="84963" y="110743"/>
                </a:lnTo>
                <a:lnTo>
                  <a:pt x="96139" y="105028"/>
                </a:lnTo>
                <a:lnTo>
                  <a:pt x="103124" y="97916"/>
                </a:lnTo>
                <a:lnTo>
                  <a:pt x="111379" y="86487"/>
                </a:lnTo>
                <a:lnTo>
                  <a:pt x="116840" y="76580"/>
                </a:lnTo>
                <a:lnTo>
                  <a:pt x="118110" y="65277"/>
                </a:lnTo>
                <a:lnTo>
                  <a:pt x="117856" y="51307"/>
                </a:lnTo>
                <a:lnTo>
                  <a:pt x="116332" y="41401"/>
                </a:lnTo>
                <a:lnTo>
                  <a:pt x="110490" y="30352"/>
                </a:lnTo>
                <a:lnTo>
                  <a:pt x="106172" y="21970"/>
                </a:lnTo>
                <a:lnTo>
                  <a:pt x="97536" y="12191"/>
                </a:lnTo>
                <a:lnTo>
                  <a:pt x="77724" y="1269"/>
                </a:lnTo>
                <a:lnTo>
                  <a:pt x="66421" y="0"/>
                </a:lnTo>
                <a:close/>
              </a:path>
            </a:pathLst>
          </a:custGeom>
          <a:solidFill>
            <a:srgbClr val="D9D9D9"/>
          </a:solidFill>
        </p:spPr>
        <p:txBody>
          <a:bodyPr wrap="square" lIns="0" tIns="0" rIns="0" bIns="0" rtlCol="0"/>
          <a:lstStyle/>
          <a:p>
            <a:endParaRPr/>
          </a:p>
        </p:txBody>
      </p:sp>
      <p:sp>
        <p:nvSpPr>
          <p:cNvPr id="128" name="object 128"/>
          <p:cNvSpPr/>
          <p:nvPr/>
        </p:nvSpPr>
        <p:spPr>
          <a:xfrm>
            <a:off x="8073136" y="2185035"/>
            <a:ext cx="118109" cy="118110"/>
          </a:xfrm>
          <a:custGeom>
            <a:avLst/>
            <a:gdLst/>
            <a:ahLst/>
            <a:cxnLst/>
            <a:rect l="l" t="t" r="r" b="b"/>
            <a:pathLst>
              <a:path w="118109" h="118110">
                <a:moveTo>
                  <a:pt x="66421" y="0"/>
                </a:moveTo>
                <a:lnTo>
                  <a:pt x="23114" y="11937"/>
                </a:lnTo>
                <a:lnTo>
                  <a:pt x="7874" y="30479"/>
                </a:lnTo>
                <a:lnTo>
                  <a:pt x="2413" y="40386"/>
                </a:lnTo>
                <a:lnTo>
                  <a:pt x="1143" y="51562"/>
                </a:lnTo>
                <a:lnTo>
                  <a:pt x="0" y="62864"/>
                </a:lnTo>
                <a:lnTo>
                  <a:pt x="2921" y="75437"/>
                </a:lnTo>
                <a:lnTo>
                  <a:pt x="31623" y="110236"/>
                </a:lnTo>
                <a:lnTo>
                  <a:pt x="64008" y="118110"/>
                </a:lnTo>
                <a:lnTo>
                  <a:pt x="76581" y="115188"/>
                </a:lnTo>
                <a:lnTo>
                  <a:pt x="84963" y="110743"/>
                </a:lnTo>
                <a:lnTo>
                  <a:pt x="96139" y="105028"/>
                </a:lnTo>
                <a:lnTo>
                  <a:pt x="103124" y="97916"/>
                </a:lnTo>
                <a:lnTo>
                  <a:pt x="111379" y="86487"/>
                </a:lnTo>
                <a:lnTo>
                  <a:pt x="116840" y="76580"/>
                </a:lnTo>
                <a:lnTo>
                  <a:pt x="118110" y="65277"/>
                </a:lnTo>
                <a:lnTo>
                  <a:pt x="117856" y="51307"/>
                </a:lnTo>
                <a:lnTo>
                  <a:pt x="116332" y="41401"/>
                </a:lnTo>
                <a:lnTo>
                  <a:pt x="110490" y="30352"/>
                </a:lnTo>
                <a:lnTo>
                  <a:pt x="106172" y="21970"/>
                </a:lnTo>
                <a:lnTo>
                  <a:pt x="97536" y="12191"/>
                </a:lnTo>
                <a:lnTo>
                  <a:pt x="77724" y="1269"/>
                </a:lnTo>
                <a:lnTo>
                  <a:pt x="66421" y="0"/>
                </a:lnTo>
                <a:close/>
              </a:path>
            </a:pathLst>
          </a:custGeom>
          <a:solidFill>
            <a:srgbClr val="D9D9D9"/>
          </a:solidFill>
        </p:spPr>
        <p:txBody>
          <a:bodyPr wrap="square" lIns="0" tIns="0" rIns="0" bIns="0" rtlCol="0"/>
          <a:lstStyle/>
          <a:p>
            <a:endParaRPr/>
          </a:p>
        </p:txBody>
      </p:sp>
      <p:sp>
        <p:nvSpPr>
          <p:cNvPr id="129" name="object 129"/>
          <p:cNvSpPr/>
          <p:nvPr/>
        </p:nvSpPr>
        <p:spPr>
          <a:xfrm>
            <a:off x="8272652" y="2291969"/>
            <a:ext cx="107314" cy="107314"/>
          </a:xfrm>
          <a:custGeom>
            <a:avLst/>
            <a:gdLst/>
            <a:ahLst/>
            <a:cxnLst/>
            <a:rect l="l" t="t" r="r" b="b"/>
            <a:pathLst>
              <a:path w="107315" h="107314">
                <a:moveTo>
                  <a:pt x="49911" y="0"/>
                </a:moveTo>
                <a:lnTo>
                  <a:pt x="13589" y="18795"/>
                </a:lnTo>
                <a:lnTo>
                  <a:pt x="5461" y="37210"/>
                </a:lnTo>
                <a:lnTo>
                  <a:pt x="0" y="47116"/>
                </a:lnTo>
                <a:lnTo>
                  <a:pt x="3048" y="66801"/>
                </a:lnTo>
                <a:lnTo>
                  <a:pt x="8890" y="77977"/>
                </a:lnTo>
                <a:lnTo>
                  <a:pt x="13207" y="86359"/>
                </a:lnTo>
                <a:lnTo>
                  <a:pt x="20320" y="93217"/>
                </a:lnTo>
                <a:lnTo>
                  <a:pt x="27431" y="100202"/>
                </a:lnTo>
                <a:lnTo>
                  <a:pt x="40131" y="104139"/>
                </a:lnTo>
                <a:lnTo>
                  <a:pt x="48641" y="106933"/>
                </a:lnTo>
                <a:lnTo>
                  <a:pt x="58420" y="105282"/>
                </a:lnTo>
                <a:lnTo>
                  <a:pt x="68325" y="103758"/>
                </a:lnTo>
                <a:lnTo>
                  <a:pt x="87883" y="93598"/>
                </a:lnTo>
                <a:lnTo>
                  <a:pt x="94866" y="86359"/>
                </a:lnTo>
                <a:lnTo>
                  <a:pt x="101726" y="79375"/>
                </a:lnTo>
                <a:lnTo>
                  <a:pt x="102870" y="68071"/>
                </a:lnTo>
                <a:lnTo>
                  <a:pt x="105537" y="59689"/>
                </a:lnTo>
                <a:lnTo>
                  <a:pt x="106806" y="48386"/>
                </a:lnTo>
                <a:lnTo>
                  <a:pt x="88011" y="12064"/>
                </a:lnTo>
                <a:lnTo>
                  <a:pt x="61214" y="1269"/>
                </a:lnTo>
                <a:lnTo>
                  <a:pt x="49911" y="0"/>
                </a:lnTo>
                <a:close/>
              </a:path>
            </a:pathLst>
          </a:custGeom>
          <a:solidFill>
            <a:srgbClr val="D9D9D9"/>
          </a:solidFill>
        </p:spPr>
        <p:txBody>
          <a:bodyPr wrap="square" lIns="0" tIns="0" rIns="0" bIns="0" rtlCol="0"/>
          <a:lstStyle/>
          <a:p>
            <a:endParaRPr/>
          </a:p>
        </p:txBody>
      </p:sp>
      <p:sp>
        <p:nvSpPr>
          <p:cNvPr id="130" name="object 130"/>
          <p:cNvSpPr/>
          <p:nvPr/>
        </p:nvSpPr>
        <p:spPr>
          <a:xfrm>
            <a:off x="8272652" y="2291969"/>
            <a:ext cx="107314" cy="107314"/>
          </a:xfrm>
          <a:custGeom>
            <a:avLst/>
            <a:gdLst/>
            <a:ahLst/>
            <a:cxnLst/>
            <a:rect l="l" t="t" r="r" b="b"/>
            <a:pathLst>
              <a:path w="107315" h="107314">
                <a:moveTo>
                  <a:pt x="49911" y="0"/>
                </a:moveTo>
                <a:lnTo>
                  <a:pt x="13589" y="18795"/>
                </a:lnTo>
                <a:lnTo>
                  <a:pt x="5461" y="37210"/>
                </a:lnTo>
                <a:lnTo>
                  <a:pt x="0" y="47116"/>
                </a:lnTo>
                <a:lnTo>
                  <a:pt x="3048" y="66801"/>
                </a:lnTo>
                <a:lnTo>
                  <a:pt x="8890" y="77977"/>
                </a:lnTo>
                <a:lnTo>
                  <a:pt x="13207" y="86359"/>
                </a:lnTo>
                <a:lnTo>
                  <a:pt x="20320" y="93217"/>
                </a:lnTo>
                <a:lnTo>
                  <a:pt x="27431" y="100202"/>
                </a:lnTo>
                <a:lnTo>
                  <a:pt x="40131" y="104139"/>
                </a:lnTo>
                <a:lnTo>
                  <a:pt x="48641" y="106933"/>
                </a:lnTo>
                <a:lnTo>
                  <a:pt x="58420" y="105282"/>
                </a:lnTo>
                <a:lnTo>
                  <a:pt x="68325" y="103758"/>
                </a:lnTo>
                <a:lnTo>
                  <a:pt x="87883" y="93598"/>
                </a:lnTo>
                <a:lnTo>
                  <a:pt x="94866" y="86359"/>
                </a:lnTo>
                <a:lnTo>
                  <a:pt x="101726" y="79375"/>
                </a:lnTo>
                <a:lnTo>
                  <a:pt x="102870" y="68071"/>
                </a:lnTo>
                <a:lnTo>
                  <a:pt x="105537" y="59689"/>
                </a:lnTo>
                <a:lnTo>
                  <a:pt x="106806" y="48386"/>
                </a:lnTo>
                <a:lnTo>
                  <a:pt x="88011" y="12064"/>
                </a:lnTo>
                <a:lnTo>
                  <a:pt x="61214" y="1269"/>
                </a:lnTo>
                <a:lnTo>
                  <a:pt x="49911" y="0"/>
                </a:lnTo>
                <a:close/>
              </a:path>
            </a:pathLst>
          </a:custGeom>
          <a:solidFill>
            <a:srgbClr val="D9D9D9"/>
          </a:solidFill>
        </p:spPr>
        <p:txBody>
          <a:bodyPr wrap="square" lIns="0" tIns="0" rIns="0" bIns="0" rtlCol="0"/>
          <a:lstStyle/>
          <a:p>
            <a:endParaRPr/>
          </a:p>
        </p:txBody>
      </p:sp>
      <p:sp>
        <p:nvSpPr>
          <p:cNvPr id="131" name="object 131"/>
          <p:cNvSpPr/>
          <p:nvPr/>
        </p:nvSpPr>
        <p:spPr>
          <a:xfrm>
            <a:off x="8453247" y="2431289"/>
            <a:ext cx="95885" cy="95885"/>
          </a:xfrm>
          <a:custGeom>
            <a:avLst/>
            <a:gdLst/>
            <a:ahLst/>
            <a:cxnLst/>
            <a:rect l="l" t="t" r="r" b="b"/>
            <a:pathLst>
              <a:path w="95884" h="95885">
                <a:moveTo>
                  <a:pt x="51307" y="0"/>
                </a:moveTo>
                <a:lnTo>
                  <a:pt x="10795" y="17399"/>
                </a:lnTo>
                <a:lnTo>
                  <a:pt x="0" y="44323"/>
                </a:lnTo>
                <a:lnTo>
                  <a:pt x="0" y="51308"/>
                </a:lnTo>
                <a:lnTo>
                  <a:pt x="23113" y="89026"/>
                </a:lnTo>
                <a:lnTo>
                  <a:pt x="44323" y="95631"/>
                </a:lnTo>
                <a:lnTo>
                  <a:pt x="51307" y="95631"/>
                </a:lnTo>
                <a:lnTo>
                  <a:pt x="88900" y="72516"/>
                </a:lnTo>
                <a:lnTo>
                  <a:pt x="95630" y="51308"/>
                </a:lnTo>
                <a:lnTo>
                  <a:pt x="95503" y="44323"/>
                </a:lnTo>
                <a:lnTo>
                  <a:pt x="72517" y="6731"/>
                </a:lnTo>
                <a:lnTo>
                  <a:pt x="51307" y="0"/>
                </a:lnTo>
                <a:close/>
              </a:path>
            </a:pathLst>
          </a:custGeom>
          <a:solidFill>
            <a:srgbClr val="D9D9D9"/>
          </a:solidFill>
        </p:spPr>
        <p:txBody>
          <a:bodyPr wrap="square" lIns="0" tIns="0" rIns="0" bIns="0" rtlCol="0"/>
          <a:lstStyle/>
          <a:p>
            <a:endParaRPr/>
          </a:p>
        </p:txBody>
      </p:sp>
      <p:sp>
        <p:nvSpPr>
          <p:cNvPr id="132" name="object 132"/>
          <p:cNvSpPr/>
          <p:nvPr/>
        </p:nvSpPr>
        <p:spPr>
          <a:xfrm>
            <a:off x="8453247" y="2431289"/>
            <a:ext cx="95885" cy="95885"/>
          </a:xfrm>
          <a:custGeom>
            <a:avLst/>
            <a:gdLst/>
            <a:ahLst/>
            <a:cxnLst/>
            <a:rect l="l" t="t" r="r" b="b"/>
            <a:pathLst>
              <a:path w="95884" h="95885">
                <a:moveTo>
                  <a:pt x="51307" y="0"/>
                </a:moveTo>
                <a:lnTo>
                  <a:pt x="10795" y="17399"/>
                </a:lnTo>
                <a:lnTo>
                  <a:pt x="0" y="44323"/>
                </a:lnTo>
                <a:lnTo>
                  <a:pt x="0" y="51308"/>
                </a:lnTo>
                <a:lnTo>
                  <a:pt x="23113" y="89026"/>
                </a:lnTo>
                <a:lnTo>
                  <a:pt x="44323" y="95631"/>
                </a:lnTo>
                <a:lnTo>
                  <a:pt x="51307" y="95631"/>
                </a:lnTo>
                <a:lnTo>
                  <a:pt x="88900" y="72516"/>
                </a:lnTo>
                <a:lnTo>
                  <a:pt x="95630" y="51308"/>
                </a:lnTo>
                <a:lnTo>
                  <a:pt x="95503" y="44323"/>
                </a:lnTo>
                <a:lnTo>
                  <a:pt x="72517" y="6731"/>
                </a:lnTo>
                <a:lnTo>
                  <a:pt x="51307" y="0"/>
                </a:lnTo>
                <a:close/>
              </a:path>
            </a:pathLst>
          </a:custGeom>
          <a:solidFill>
            <a:srgbClr val="D9D9D9"/>
          </a:solidFill>
        </p:spPr>
        <p:txBody>
          <a:bodyPr wrap="square" lIns="0" tIns="0" rIns="0" bIns="0" rtlCol="0"/>
          <a:lstStyle/>
          <a:p>
            <a:endParaRPr/>
          </a:p>
        </p:txBody>
      </p:sp>
      <p:sp>
        <p:nvSpPr>
          <p:cNvPr id="133" name="object 133"/>
          <p:cNvSpPr/>
          <p:nvPr/>
        </p:nvSpPr>
        <p:spPr>
          <a:xfrm>
            <a:off x="8604758" y="2599309"/>
            <a:ext cx="88900" cy="84455"/>
          </a:xfrm>
          <a:custGeom>
            <a:avLst/>
            <a:gdLst/>
            <a:ahLst/>
            <a:cxnLst/>
            <a:rect l="l" t="t" r="r" b="b"/>
            <a:pathLst>
              <a:path w="88900" h="84455">
                <a:moveTo>
                  <a:pt x="40005" y="0"/>
                </a:moveTo>
                <a:lnTo>
                  <a:pt x="24638" y="4444"/>
                </a:lnTo>
                <a:lnTo>
                  <a:pt x="12192" y="14477"/>
                </a:lnTo>
                <a:lnTo>
                  <a:pt x="2540" y="30099"/>
                </a:lnTo>
                <a:lnTo>
                  <a:pt x="0" y="45592"/>
                </a:lnTo>
                <a:lnTo>
                  <a:pt x="4445" y="60960"/>
                </a:lnTo>
                <a:lnTo>
                  <a:pt x="15875" y="76200"/>
                </a:lnTo>
                <a:lnTo>
                  <a:pt x="29972" y="83057"/>
                </a:lnTo>
                <a:lnTo>
                  <a:pt x="48260" y="84200"/>
                </a:lnTo>
                <a:lnTo>
                  <a:pt x="63753" y="79755"/>
                </a:lnTo>
                <a:lnTo>
                  <a:pt x="76200" y="69723"/>
                </a:lnTo>
                <a:lnTo>
                  <a:pt x="85851" y="54101"/>
                </a:lnTo>
                <a:lnTo>
                  <a:pt x="88392" y="38607"/>
                </a:lnTo>
                <a:lnTo>
                  <a:pt x="82550" y="20446"/>
                </a:lnTo>
                <a:lnTo>
                  <a:pt x="72517" y="7874"/>
                </a:lnTo>
                <a:lnTo>
                  <a:pt x="58293" y="1142"/>
                </a:lnTo>
                <a:lnTo>
                  <a:pt x="40005" y="0"/>
                </a:lnTo>
                <a:close/>
              </a:path>
            </a:pathLst>
          </a:custGeom>
          <a:solidFill>
            <a:srgbClr val="D9D9D9"/>
          </a:solidFill>
        </p:spPr>
        <p:txBody>
          <a:bodyPr wrap="square" lIns="0" tIns="0" rIns="0" bIns="0" rtlCol="0"/>
          <a:lstStyle/>
          <a:p>
            <a:endParaRPr/>
          </a:p>
        </p:txBody>
      </p:sp>
      <p:sp>
        <p:nvSpPr>
          <p:cNvPr id="134" name="object 134"/>
          <p:cNvSpPr/>
          <p:nvPr/>
        </p:nvSpPr>
        <p:spPr>
          <a:xfrm>
            <a:off x="8604758" y="2599309"/>
            <a:ext cx="88900" cy="84455"/>
          </a:xfrm>
          <a:custGeom>
            <a:avLst/>
            <a:gdLst/>
            <a:ahLst/>
            <a:cxnLst/>
            <a:rect l="l" t="t" r="r" b="b"/>
            <a:pathLst>
              <a:path w="88900" h="84455">
                <a:moveTo>
                  <a:pt x="40005" y="0"/>
                </a:moveTo>
                <a:lnTo>
                  <a:pt x="24638" y="4444"/>
                </a:lnTo>
                <a:lnTo>
                  <a:pt x="12192" y="14477"/>
                </a:lnTo>
                <a:lnTo>
                  <a:pt x="2540" y="30099"/>
                </a:lnTo>
                <a:lnTo>
                  <a:pt x="0" y="45592"/>
                </a:lnTo>
                <a:lnTo>
                  <a:pt x="4445" y="60960"/>
                </a:lnTo>
                <a:lnTo>
                  <a:pt x="15875" y="76200"/>
                </a:lnTo>
                <a:lnTo>
                  <a:pt x="29972" y="83057"/>
                </a:lnTo>
                <a:lnTo>
                  <a:pt x="48260" y="84200"/>
                </a:lnTo>
                <a:lnTo>
                  <a:pt x="63753" y="79755"/>
                </a:lnTo>
                <a:lnTo>
                  <a:pt x="76200" y="69723"/>
                </a:lnTo>
                <a:lnTo>
                  <a:pt x="85851" y="54101"/>
                </a:lnTo>
                <a:lnTo>
                  <a:pt x="88392" y="38607"/>
                </a:lnTo>
                <a:lnTo>
                  <a:pt x="82550" y="20446"/>
                </a:lnTo>
                <a:lnTo>
                  <a:pt x="72517" y="7874"/>
                </a:lnTo>
                <a:lnTo>
                  <a:pt x="58293" y="1142"/>
                </a:lnTo>
                <a:lnTo>
                  <a:pt x="40005" y="0"/>
                </a:lnTo>
                <a:close/>
              </a:path>
            </a:pathLst>
          </a:custGeom>
          <a:solidFill>
            <a:srgbClr val="D9D9D9"/>
          </a:solidFill>
        </p:spPr>
        <p:txBody>
          <a:bodyPr wrap="square" lIns="0" tIns="0" rIns="0" bIns="0" rtlCol="0"/>
          <a:lstStyle/>
          <a:p>
            <a:endParaRPr/>
          </a:p>
        </p:txBody>
      </p:sp>
      <p:sp>
        <p:nvSpPr>
          <p:cNvPr id="135" name="object 135"/>
          <p:cNvSpPr/>
          <p:nvPr/>
        </p:nvSpPr>
        <p:spPr>
          <a:xfrm>
            <a:off x="8728077" y="2788540"/>
            <a:ext cx="76834" cy="76200"/>
          </a:xfrm>
          <a:custGeom>
            <a:avLst/>
            <a:gdLst/>
            <a:ahLst/>
            <a:cxnLst/>
            <a:rect l="l" t="t" r="r" b="b"/>
            <a:pathLst>
              <a:path w="76834" h="76200">
                <a:moveTo>
                  <a:pt x="50292" y="0"/>
                </a:moveTo>
                <a:lnTo>
                  <a:pt x="36195" y="126"/>
                </a:lnTo>
                <a:lnTo>
                  <a:pt x="20827" y="4572"/>
                </a:lnTo>
                <a:lnTo>
                  <a:pt x="11049" y="13208"/>
                </a:lnTo>
                <a:lnTo>
                  <a:pt x="0" y="26035"/>
                </a:lnTo>
                <a:lnTo>
                  <a:pt x="253" y="40005"/>
                </a:lnTo>
                <a:lnTo>
                  <a:pt x="4699" y="55499"/>
                </a:lnTo>
                <a:lnTo>
                  <a:pt x="14731" y="67945"/>
                </a:lnTo>
                <a:lnTo>
                  <a:pt x="26034" y="76200"/>
                </a:lnTo>
                <a:lnTo>
                  <a:pt x="42925" y="74549"/>
                </a:lnTo>
                <a:lnTo>
                  <a:pt x="55499" y="71500"/>
                </a:lnTo>
                <a:lnTo>
                  <a:pt x="68072" y="61595"/>
                </a:lnTo>
                <a:lnTo>
                  <a:pt x="76326" y="50164"/>
                </a:lnTo>
                <a:lnTo>
                  <a:pt x="76073" y="36068"/>
                </a:lnTo>
                <a:lnTo>
                  <a:pt x="71627" y="20700"/>
                </a:lnTo>
                <a:lnTo>
                  <a:pt x="61595" y="8255"/>
                </a:lnTo>
                <a:lnTo>
                  <a:pt x="50292" y="0"/>
                </a:lnTo>
                <a:close/>
              </a:path>
            </a:pathLst>
          </a:custGeom>
          <a:solidFill>
            <a:srgbClr val="D9D9D9"/>
          </a:solidFill>
        </p:spPr>
        <p:txBody>
          <a:bodyPr wrap="square" lIns="0" tIns="0" rIns="0" bIns="0" rtlCol="0"/>
          <a:lstStyle/>
          <a:p>
            <a:endParaRPr/>
          </a:p>
        </p:txBody>
      </p:sp>
      <p:sp>
        <p:nvSpPr>
          <p:cNvPr id="136" name="object 136"/>
          <p:cNvSpPr/>
          <p:nvPr/>
        </p:nvSpPr>
        <p:spPr>
          <a:xfrm>
            <a:off x="8728077" y="2788540"/>
            <a:ext cx="76834" cy="76200"/>
          </a:xfrm>
          <a:custGeom>
            <a:avLst/>
            <a:gdLst/>
            <a:ahLst/>
            <a:cxnLst/>
            <a:rect l="l" t="t" r="r" b="b"/>
            <a:pathLst>
              <a:path w="76834" h="76200">
                <a:moveTo>
                  <a:pt x="50292" y="0"/>
                </a:moveTo>
                <a:lnTo>
                  <a:pt x="36195" y="126"/>
                </a:lnTo>
                <a:lnTo>
                  <a:pt x="20827" y="4572"/>
                </a:lnTo>
                <a:lnTo>
                  <a:pt x="11049" y="13208"/>
                </a:lnTo>
                <a:lnTo>
                  <a:pt x="0" y="26035"/>
                </a:lnTo>
                <a:lnTo>
                  <a:pt x="253" y="40005"/>
                </a:lnTo>
                <a:lnTo>
                  <a:pt x="4699" y="55499"/>
                </a:lnTo>
                <a:lnTo>
                  <a:pt x="14731" y="67945"/>
                </a:lnTo>
                <a:lnTo>
                  <a:pt x="26034" y="76200"/>
                </a:lnTo>
                <a:lnTo>
                  <a:pt x="42925" y="74549"/>
                </a:lnTo>
                <a:lnTo>
                  <a:pt x="55499" y="71500"/>
                </a:lnTo>
                <a:lnTo>
                  <a:pt x="68072" y="61595"/>
                </a:lnTo>
                <a:lnTo>
                  <a:pt x="76326" y="50164"/>
                </a:lnTo>
                <a:lnTo>
                  <a:pt x="76073" y="36068"/>
                </a:lnTo>
                <a:lnTo>
                  <a:pt x="71627" y="20700"/>
                </a:lnTo>
                <a:lnTo>
                  <a:pt x="61595" y="8255"/>
                </a:lnTo>
                <a:lnTo>
                  <a:pt x="50292" y="0"/>
                </a:lnTo>
                <a:close/>
              </a:path>
            </a:pathLst>
          </a:custGeom>
          <a:solidFill>
            <a:srgbClr val="D9D9D9"/>
          </a:solidFill>
        </p:spPr>
        <p:txBody>
          <a:bodyPr wrap="square" lIns="0" tIns="0" rIns="0" bIns="0" rtlCol="0"/>
          <a:lstStyle/>
          <a:p>
            <a:endParaRPr/>
          </a:p>
        </p:txBody>
      </p:sp>
      <p:sp>
        <p:nvSpPr>
          <p:cNvPr id="137" name="object 137"/>
          <p:cNvSpPr/>
          <p:nvPr/>
        </p:nvSpPr>
        <p:spPr>
          <a:xfrm>
            <a:off x="8815706" y="2994151"/>
            <a:ext cx="69215" cy="70485"/>
          </a:xfrm>
          <a:custGeom>
            <a:avLst/>
            <a:gdLst/>
            <a:ahLst/>
            <a:cxnLst/>
            <a:rect l="l" t="t" r="r" b="b"/>
            <a:pathLst>
              <a:path w="69215" h="70485">
                <a:moveTo>
                  <a:pt x="30352" y="0"/>
                </a:moveTo>
                <a:lnTo>
                  <a:pt x="19176" y="5714"/>
                </a:lnTo>
                <a:lnTo>
                  <a:pt x="8000" y="11557"/>
                </a:lnTo>
                <a:lnTo>
                  <a:pt x="1270" y="25653"/>
                </a:lnTo>
                <a:lnTo>
                  <a:pt x="0" y="36957"/>
                </a:lnTo>
                <a:lnTo>
                  <a:pt x="4445" y="52324"/>
                </a:lnTo>
                <a:lnTo>
                  <a:pt x="12953" y="62102"/>
                </a:lnTo>
                <a:lnTo>
                  <a:pt x="22860" y="67563"/>
                </a:lnTo>
                <a:lnTo>
                  <a:pt x="38480" y="70103"/>
                </a:lnTo>
                <a:lnTo>
                  <a:pt x="51053" y="67183"/>
                </a:lnTo>
                <a:lnTo>
                  <a:pt x="60705" y="58547"/>
                </a:lnTo>
                <a:lnTo>
                  <a:pt x="67564" y="44450"/>
                </a:lnTo>
                <a:lnTo>
                  <a:pt x="68834" y="33147"/>
                </a:lnTo>
                <a:lnTo>
                  <a:pt x="65786" y="20574"/>
                </a:lnTo>
                <a:lnTo>
                  <a:pt x="55752" y="8000"/>
                </a:lnTo>
                <a:lnTo>
                  <a:pt x="45847" y="2539"/>
                </a:lnTo>
                <a:lnTo>
                  <a:pt x="30352" y="0"/>
                </a:lnTo>
                <a:close/>
              </a:path>
            </a:pathLst>
          </a:custGeom>
          <a:solidFill>
            <a:srgbClr val="D9D9D9"/>
          </a:solidFill>
        </p:spPr>
        <p:txBody>
          <a:bodyPr wrap="square" lIns="0" tIns="0" rIns="0" bIns="0" rtlCol="0"/>
          <a:lstStyle/>
          <a:p>
            <a:endParaRPr/>
          </a:p>
        </p:txBody>
      </p:sp>
      <p:sp>
        <p:nvSpPr>
          <p:cNvPr id="138" name="object 138"/>
          <p:cNvSpPr/>
          <p:nvPr/>
        </p:nvSpPr>
        <p:spPr>
          <a:xfrm>
            <a:off x="8815706" y="2994151"/>
            <a:ext cx="69215" cy="70485"/>
          </a:xfrm>
          <a:custGeom>
            <a:avLst/>
            <a:gdLst/>
            <a:ahLst/>
            <a:cxnLst/>
            <a:rect l="l" t="t" r="r" b="b"/>
            <a:pathLst>
              <a:path w="69215" h="70485">
                <a:moveTo>
                  <a:pt x="30352" y="0"/>
                </a:moveTo>
                <a:lnTo>
                  <a:pt x="19176" y="5714"/>
                </a:lnTo>
                <a:lnTo>
                  <a:pt x="8000" y="11557"/>
                </a:lnTo>
                <a:lnTo>
                  <a:pt x="1270" y="25653"/>
                </a:lnTo>
                <a:lnTo>
                  <a:pt x="0" y="36957"/>
                </a:lnTo>
                <a:lnTo>
                  <a:pt x="4445" y="52324"/>
                </a:lnTo>
                <a:lnTo>
                  <a:pt x="12953" y="62102"/>
                </a:lnTo>
                <a:lnTo>
                  <a:pt x="22860" y="67563"/>
                </a:lnTo>
                <a:lnTo>
                  <a:pt x="38480" y="70103"/>
                </a:lnTo>
                <a:lnTo>
                  <a:pt x="51053" y="67183"/>
                </a:lnTo>
                <a:lnTo>
                  <a:pt x="60705" y="58547"/>
                </a:lnTo>
                <a:lnTo>
                  <a:pt x="67564" y="44450"/>
                </a:lnTo>
                <a:lnTo>
                  <a:pt x="68834" y="33147"/>
                </a:lnTo>
                <a:lnTo>
                  <a:pt x="65786" y="20574"/>
                </a:lnTo>
                <a:lnTo>
                  <a:pt x="55752" y="8000"/>
                </a:lnTo>
                <a:lnTo>
                  <a:pt x="45847" y="2539"/>
                </a:lnTo>
                <a:lnTo>
                  <a:pt x="30352" y="0"/>
                </a:lnTo>
                <a:close/>
              </a:path>
            </a:pathLst>
          </a:custGeom>
          <a:solidFill>
            <a:srgbClr val="D9D9D9"/>
          </a:solidFill>
        </p:spPr>
        <p:txBody>
          <a:bodyPr wrap="square" lIns="0" tIns="0" rIns="0" bIns="0" rtlCol="0"/>
          <a:lstStyle/>
          <a:p>
            <a:endParaRPr/>
          </a:p>
        </p:txBody>
      </p:sp>
      <p:sp>
        <p:nvSpPr>
          <p:cNvPr id="139" name="object 139"/>
          <p:cNvSpPr/>
          <p:nvPr/>
        </p:nvSpPr>
        <p:spPr>
          <a:xfrm>
            <a:off x="8866631" y="3212719"/>
            <a:ext cx="62230" cy="62230"/>
          </a:xfrm>
          <a:custGeom>
            <a:avLst/>
            <a:gdLst/>
            <a:ahLst/>
            <a:cxnLst/>
            <a:rect l="l" t="t" r="r" b="b"/>
            <a:pathLst>
              <a:path w="62229" h="62229">
                <a:moveTo>
                  <a:pt x="29083" y="0"/>
                </a:moveTo>
                <a:lnTo>
                  <a:pt x="16510" y="2920"/>
                </a:lnTo>
                <a:lnTo>
                  <a:pt x="6731" y="11556"/>
                </a:lnTo>
                <a:lnTo>
                  <a:pt x="1270" y="21462"/>
                </a:lnTo>
                <a:lnTo>
                  <a:pt x="0" y="32765"/>
                </a:lnTo>
                <a:lnTo>
                  <a:pt x="3048" y="45338"/>
                </a:lnTo>
                <a:lnTo>
                  <a:pt x="11557" y="54990"/>
                </a:lnTo>
                <a:lnTo>
                  <a:pt x="21463" y="60578"/>
                </a:lnTo>
                <a:lnTo>
                  <a:pt x="32766" y="61721"/>
                </a:lnTo>
                <a:lnTo>
                  <a:pt x="45339" y="58800"/>
                </a:lnTo>
                <a:lnTo>
                  <a:pt x="55118" y="50164"/>
                </a:lnTo>
                <a:lnTo>
                  <a:pt x="60578" y="40258"/>
                </a:lnTo>
                <a:lnTo>
                  <a:pt x="61849" y="28955"/>
                </a:lnTo>
                <a:lnTo>
                  <a:pt x="58800" y="16382"/>
                </a:lnTo>
                <a:lnTo>
                  <a:pt x="50292" y="6730"/>
                </a:lnTo>
                <a:lnTo>
                  <a:pt x="40259" y="1142"/>
                </a:lnTo>
                <a:lnTo>
                  <a:pt x="29083" y="0"/>
                </a:lnTo>
                <a:close/>
              </a:path>
            </a:pathLst>
          </a:custGeom>
          <a:solidFill>
            <a:srgbClr val="D9D9D9"/>
          </a:solidFill>
        </p:spPr>
        <p:txBody>
          <a:bodyPr wrap="square" lIns="0" tIns="0" rIns="0" bIns="0" rtlCol="0"/>
          <a:lstStyle/>
          <a:p>
            <a:endParaRPr/>
          </a:p>
        </p:txBody>
      </p:sp>
      <p:sp>
        <p:nvSpPr>
          <p:cNvPr id="140" name="object 140"/>
          <p:cNvSpPr/>
          <p:nvPr/>
        </p:nvSpPr>
        <p:spPr>
          <a:xfrm>
            <a:off x="8866631" y="3212719"/>
            <a:ext cx="62230" cy="62230"/>
          </a:xfrm>
          <a:custGeom>
            <a:avLst/>
            <a:gdLst/>
            <a:ahLst/>
            <a:cxnLst/>
            <a:rect l="l" t="t" r="r" b="b"/>
            <a:pathLst>
              <a:path w="62229" h="62229">
                <a:moveTo>
                  <a:pt x="29083" y="0"/>
                </a:moveTo>
                <a:lnTo>
                  <a:pt x="16510" y="2920"/>
                </a:lnTo>
                <a:lnTo>
                  <a:pt x="6731" y="11556"/>
                </a:lnTo>
                <a:lnTo>
                  <a:pt x="1270" y="21462"/>
                </a:lnTo>
                <a:lnTo>
                  <a:pt x="0" y="32765"/>
                </a:lnTo>
                <a:lnTo>
                  <a:pt x="3048" y="45338"/>
                </a:lnTo>
                <a:lnTo>
                  <a:pt x="11557" y="54990"/>
                </a:lnTo>
                <a:lnTo>
                  <a:pt x="21463" y="60578"/>
                </a:lnTo>
                <a:lnTo>
                  <a:pt x="32766" y="61721"/>
                </a:lnTo>
                <a:lnTo>
                  <a:pt x="45339" y="58800"/>
                </a:lnTo>
                <a:lnTo>
                  <a:pt x="55118" y="50164"/>
                </a:lnTo>
                <a:lnTo>
                  <a:pt x="60578" y="40258"/>
                </a:lnTo>
                <a:lnTo>
                  <a:pt x="61849" y="28955"/>
                </a:lnTo>
                <a:lnTo>
                  <a:pt x="58800" y="16382"/>
                </a:lnTo>
                <a:lnTo>
                  <a:pt x="50292" y="6730"/>
                </a:lnTo>
                <a:lnTo>
                  <a:pt x="40259" y="1142"/>
                </a:lnTo>
                <a:lnTo>
                  <a:pt x="29083" y="0"/>
                </a:lnTo>
                <a:close/>
              </a:path>
            </a:pathLst>
          </a:custGeom>
          <a:solidFill>
            <a:srgbClr val="D9D9D9"/>
          </a:solidFill>
        </p:spPr>
        <p:txBody>
          <a:bodyPr wrap="square" lIns="0" tIns="0" rIns="0" bIns="0" rtlCol="0"/>
          <a:lstStyle/>
          <a:p>
            <a:endParaRPr/>
          </a:p>
        </p:txBody>
      </p:sp>
      <p:sp>
        <p:nvSpPr>
          <p:cNvPr id="141" name="object 141"/>
          <p:cNvSpPr/>
          <p:nvPr/>
        </p:nvSpPr>
        <p:spPr>
          <a:xfrm>
            <a:off x="8878318" y="3434716"/>
            <a:ext cx="57785" cy="57785"/>
          </a:xfrm>
          <a:custGeom>
            <a:avLst/>
            <a:gdLst/>
            <a:ahLst/>
            <a:cxnLst/>
            <a:rect l="l" t="t" r="r" b="b"/>
            <a:pathLst>
              <a:path w="57784" h="57785">
                <a:moveTo>
                  <a:pt x="26288" y="0"/>
                </a:moveTo>
                <a:lnTo>
                  <a:pt x="13715" y="2921"/>
                </a:lnTo>
                <a:lnTo>
                  <a:pt x="6730" y="10033"/>
                </a:lnTo>
                <a:lnTo>
                  <a:pt x="1269" y="19938"/>
                </a:lnTo>
                <a:lnTo>
                  <a:pt x="0" y="31242"/>
                </a:lnTo>
                <a:lnTo>
                  <a:pt x="4444" y="39624"/>
                </a:lnTo>
                <a:lnTo>
                  <a:pt x="10159" y="50800"/>
                </a:lnTo>
                <a:lnTo>
                  <a:pt x="20065" y="56261"/>
                </a:lnTo>
                <a:lnTo>
                  <a:pt x="31368" y="57531"/>
                </a:lnTo>
                <a:lnTo>
                  <a:pt x="50926" y="47371"/>
                </a:lnTo>
                <a:lnTo>
                  <a:pt x="56387" y="37464"/>
                </a:lnTo>
                <a:lnTo>
                  <a:pt x="57657" y="26162"/>
                </a:lnTo>
                <a:lnTo>
                  <a:pt x="51815" y="14986"/>
                </a:lnTo>
                <a:lnTo>
                  <a:pt x="47498" y="6604"/>
                </a:lnTo>
                <a:lnTo>
                  <a:pt x="37591" y="1143"/>
                </a:lnTo>
                <a:lnTo>
                  <a:pt x="26288" y="0"/>
                </a:lnTo>
                <a:close/>
              </a:path>
            </a:pathLst>
          </a:custGeom>
          <a:solidFill>
            <a:srgbClr val="D9D9D9"/>
          </a:solidFill>
        </p:spPr>
        <p:txBody>
          <a:bodyPr wrap="square" lIns="0" tIns="0" rIns="0" bIns="0" rtlCol="0"/>
          <a:lstStyle/>
          <a:p>
            <a:endParaRPr/>
          </a:p>
        </p:txBody>
      </p:sp>
      <p:sp>
        <p:nvSpPr>
          <p:cNvPr id="142" name="object 142"/>
          <p:cNvSpPr/>
          <p:nvPr/>
        </p:nvSpPr>
        <p:spPr>
          <a:xfrm>
            <a:off x="8878318" y="3434716"/>
            <a:ext cx="57785" cy="57785"/>
          </a:xfrm>
          <a:custGeom>
            <a:avLst/>
            <a:gdLst/>
            <a:ahLst/>
            <a:cxnLst/>
            <a:rect l="l" t="t" r="r" b="b"/>
            <a:pathLst>
              <a:path w="57784" h="57785">
                <a:moveTo>
                  <a:pt x="26288" y="0"/>
                </a:moveTo>
                <a:lnTo>
                  <a:pt x="13715" y="2921"/>
                </a:lnTo>
                <a:lnTo>
                  <a:pt x="6730" y="10033"/>
                </a:lnTo>
                <a:lnTo>
                  <a:pt x="1269" y="19938"/>
                </a:lnTo>
                <a:lnTo>
                  <a:pt x="0" y="31242"/>
                </a:lnTo>
                <a:lnTo>
                  <a:pt x="4444" y="39624"/>
                </a:lnTo>
                <a:lnTo>
                  <a:pt x="10159" y="50800"/>
                </a:lnTo>
                <a:lnTo>
                  <a:pt x="20065" y="56261"/>
                </a:lnTo>
                <a:lnTo>
                  <a:pt x="31368" y="57531"/>
                </a:lnTo>
                <a:lnTo>
                  <a:pt x="50926" y="47371"/>
                </a:lnTo>
                <a:lnTo>
                  <a:pt x="56387" y="37464"/>
                </a:lnTo>
                <a:lnTo>
                  <a:pt x="57657" y="26162"/>
                </a:lnTo>
                <a:lnTo>
                  <a:pt x="51815" y="14986"/>
                </a:lnTo>
                <a:lnTo>
                  <a:pt x="47498" y="6604"/>
                </a:lnTo>
                <a:lnTo>
                  <a:pt x="37591" y="1143"/>
                </a:lnTo>
                <a:lnTo>
                  <a:pt x="26288" y="0"/>
                </a:lnTo>
                <a:close/>
              </a:path>
            </a:pathLst>
          </a:custGeom>
          <a:solidFill>
            <a:srgbClr val="D9D9D9"/>
          </a:solidFill>
        </p:spPr>
        <p:txBody>
          <a:bodyPr wrap="square" lIns="0" tIns="0" rIns="0" bIns="0" rtlCol="0"/>
          <a:lstStyle/>
          <a:p>
            <a:endParaRPr/>
          </a:p>
        </p:txBody>
      </p:sp>
      <p:sp>
        <p:nvSpPr>
          <p:cNvPr id="143" name="object 143"/>
          <p:cNvSpPr/>
          <p:nvPr/>
        </p:nvSpPr>
        <p:spPr>
          <a:xfrm>
            <a:off x="8853552" y="3655821"/>
            <a:ext cx="50800" cy="50800"/>
          </a:xfrm>
          <a:custGeom>
            <a:avLst/>
            <a:gdLst/>
            <a:ahLst/>
            <a:cxnLst/>
            <a:rect l="l" t="t" r="r" b="b"/>
            <a:pathLst>
              <a:path w="50800" h="50800">
                <a:moveTo>
                  <a:pt x="20574" y="0"/>
                </a:moveTo>
                <a:lnTo>
                  <a:pt x="3809" y="8635"/>
                </a:lnTo>
                <a:lnTo>
                  <a:pt x="1143" y="17144"/>
                </a:lnTo>
                <a:lnTo>
                  <a:pt x="0" y="28447"/>
                </a:lnTo>
                <a:lnTo>
                  <a:pt x="1524" y="38226"/>
                </a:lnTo>
                <a:lnTo>
                  <a:pt x="8635" y="45084"/>
                </a:lnTo>
                <a:lnTo>
                  <a:pt x="17145" y="47878"/>
                </a:lnTo>
                <a:lnTo>
                  <a:pt x="25526" y="50545"/>
                </a:lnTo>
                <a:lnTo>
                  <a:pt x="35432" y="49021"/>
                </a:lnTo>
                <a:lnTo>
                  <a:pt x="42291" y="41782"/>
                </a:lnTo>
                <a:lnTo>
                  <a:pt x="47751" y="31876"/>
                </a:lnTo>
                <a:lnTo>
                  <a:pt x="50419" y="23494"/>
                </a:lnTo>
                <a:lnTo>
                  <a:pt x="41782" y="6730"/>
                </a:lnTo>
                <a:lnTo>
                  <a:pt x="31876" y="1269"/>
                </a:lnTo>
                <a:lnTo>
                  <a:pt x="20574" y="0"/>
                </a:lnTo>
                <a:close/>
              </a:path>
            </a:pathLst>
          </a:custGeom>
          <a:solidFill>
            <a:srgbClr val="D9D9D9"/>
          </a:solidFill>
        </p:spPr>
        <p:txBody>
          <a:bodyPr wrap="square" lIns="0" tIns="0" rIns="0" bIns="0" rtlCol="0"/>
          <a:lstStyle/>
          <a:p>
            <a:endParaRPr/>
          </a:p>
        </p:txBody>
      </p:sp>
      <p:sp>
        <p:nvSpPr>
          <p:cNvPr id="144" name="object 144"/>
          <p:cNvSpPr/>
          <p:nvPr/>
        </p:nvSpPr>
        <p:spPr>
          <a:xfrm>
            <a:off x="8853552" y="3655821"/>
            <a:ext cx="50800" cy="50800"/>
          </a:xfrm>
          <a:custGeom>
            <a:avLst/>
            <a:gdLst/>
            <a:ahLst/>
            <a:cxnLst/>
            <a:rect l="l" t="t" r="r" b="b"/>
            <a:pathLst>
              <a:path w="50800" h="50800">
                <a:moveTo>
                  <a:pt x="20574" y="0"/>
                </a:moveTo>
                <a:lnTo>
                  <a:pt x="3809" y="8635"/>
                </a:lnTo>
                <a:lnTo>
                  <a:pt x="1143" y="17144"/>
                </a:lnTo>
                <a:lnTo>
                  <a:pt x="0" y="28447"/>
                </a:lnTo>
                <a:lnTo>
                  <a:pt x="1524" y="38226"/>
                </a:lnTo>
                <a:lnTo>
                  <a:pt x="8635" y="45084"/>
                </a:lnTo>
                <a:lnTo>
                  <a:pt x="17145" y="47878"/>
                </a:lnTo>
                <a:lnTo>
                  <a:pt x="25526" y="50545"/>
                </a:lnTo>
                <a:lnTo>
                  <a:pt x="35432" y="49021"/>
                </a:lnTo>
                <a:lnTo>
                  <a:pt x="42291" y="41782"/>
                </a:lnTo>
                <a:lnTo>
                  <a:pt x="47751" y="31876"/>
                </a:lnTo>
                <a:lnTo>
                  <a:pt x="50419" y="23494"/>
                </a:lnTo>
                <a:lnTo>
                  <a:pt x="41782" y="6730"/>
                </a:lnTo>
                <a:lnTo>
                  <a:pt x="31876" y="1269"/>
                </a:lnTo>
                <a:lnTo>
                  <a:pt x="20574" y="0"/>
                </a:lnTo>
                <a:close/>
              </a:path>
            </a:pathLst>
          </a:custGeom>
          <a:solidFill>
            <a:srgbClr val="D9D9D9"/>
          </a:solidFill>
        </p:spPr>
        <p:txBody>
          <a:bodyPr wrap="square" lIns="0" tIns="0" rIns="0" bIns="0" rtlCol="0"/>
          <a:lstStyle/>
          <a:p>
            <a:endParaRPr/>
          </a:p>
        </p:txBody>
      </p:sp>
      <p:sp>
        <p:nvSpPr>
          <p:cNvPr id="145" name="object 145"/>
          <p:cNvSpPr/>
          <p:nvPr/>
        </p:nvSpPr>
        <p:spPr>
          <a:xfrm>
            <a:off x="8787638" y="3866261"/>
            <a:ext cx="48260" cy="48260"/>
          </a:xfrm>
          <a:custGeom>
            <a:avLst/>
            <a:gdLst/>
            <a:ahLst/>
            <a:cxnLst/>
            <a:rect l="l" t="t" r="r" b="b"/>
            <a:pathLst>
              <a:path w="48259" h="48260">
                <a:moveTo>
                  <a:pt x="22225" y="0"/>
                </a:moveTo>
                <a:lnTo>
                  <a:pt x="5460" y="8636"/>
                </a:lnTo>
                <a:lnTo>
                  <a:pt x="2793" y="17144"/>
                </a:lnTo>
                <a:lnTo>
                  <a:pt x="0" y="25526"/>
                </a:lnTo>
                <a:lnTo>
                  <a:pt x="4444" y="33908"/>
                </a:lnTo>
                <a:lnTo>
                  <a:pt x="8762" y="42290"/>
                </a:lnTo>
                <a:lnTo>
                  <a:pt x="17144" y="44957"/>
                </a:lnTo>
                <a:lnTo>
                  <a:pt x="25653" y="47751"/>
                </a:lnTo>
                <a:lnTo>
                  <a:pt x="34035" y="43306"/>
                </a:lnTo>
                <a:lnTo>
                  <a:pt x="42417" y="38988"/>
                </a:lnTo>
                <a:lnTo>
                  <a:pt x="45084" y="30480"/>
                </a:lnTo>
                <a:lnTo>
                  <a:pt x="47751" y="22097"/>
                </a:lnTo>
                <a:lnTo>
                  <a:pt x="39115" y="5333"/>
                </a:lnTo>
                <a:lnTo>
                  <a:pt x="22225" y="0"/>
                </a:lnTo>
                <a:close/>
              </a:path>
            </a:pathLst>
          </a:custGeom>
          <a:solidFill>
            <a:srgbClr val="D9D9D9"/>
          </a:solidFill>
        </p:spPr>
        <p:txBody>
          <a:bodyPr wrap="square" lIns="0" tIns="0" rIns="0" bIns="0" rtlCol="0"/>
          <a:lstStyle/>
          <a:p>
            <a:endParaRPr/>
          </a:p>
        </p:txBody>
      </p:sp>
      <p:sp>
        <p:nvSpPr>
          <p:cNvPr id="146" name="object 146"/>
          <p:cNvSpPr/>
          <p:nvPr/>
        </p:nvSpPr>
        <p:spPr>
          <a:xfrm>
            <a:off x="8787638" y="3866261"/>
            <a:ext cx="48260" cy="48260"/>
          </a:xfrm>
          <a:custGeom>
            <a:avLst/>
            <a:gdLst/>
            <a:ahLst/>
            <a:cxnLst/>
            <a:rect l="l" t="t" r="r" b="b"/>
            <a:pathLst>
              <a:path w="48259" h="48260">
                <a:moveTo>
                  <a:pt x="22225" y="0"/>
                </a:moveTo>
                <a:lnTo>
                  <a:pt x="5460" y="8636"/>
                </a:lnTo>
                <a:lnTo>
                  <a:pt x="2793" y="17144"/>
                </a:lnTo>
                <a:lnTo>
                  <a:pt x="0" y="25526"/>
                </a:lnTo>
                <a:lnTo>
                  <a:pt x="4444" y="33908"/>
                </a:lnTo>
                <a:lnTo>
                  <a:pt x="8762" y="42290"/>
                </a:lnTo>
                <a:lnTo>
                  <a:pt x="17144" y="44957"/>
                </a:lnTo>
                <a:lnTo>
                  <a:pt x="25653" y="47751"/>
                </a:lnTo>
                <a:lnTo>
                  <a:pt x="34035" y="43306"/>
                </a:lnTo>
                <a:lnTo>
                  <a:pt x="42417" y="38988"/>
                </a:lnTo>
                <a:lnTo>
                  <a:pt x="45084" y="30480"/>
                </a:lnTo>
                <a:lnTo>
                  <a:pt x="47751" y="22097"/>
                </a:lnTo>
                <a:lnTo>
                  <a:pt x="39115" y="5333"/>
                </a:lnTo>
                <a:lnTo>
                  <a:pt x="22225" y="0"/>
                </a:lnTo>
                <a:close/>
              </a:path>
            </a:pathLst>
          </a:custGeom>
          <a:solidFill>
            <a:srgbClr val="D9D9D9"/>
          </a:solidFill>
        </p:spPr>
        <p:txBody>
          <a:bodyPr wrap="square" lIns="0" tIns="0" rIns="0" bIns="0" rtlCol="0"/>
          <a:lstStyle/>
          <a:p>
            <a:endParaRPr/>
          </a:p>
        </p:txBody>
      </p:sp>
      <p:sp>
        <p:nvSpPr>
          <p:cNvPr id="147" name="object 147"/>
          <p:cNvSpPr/>
          <p:nvPr/>
        </p:nvSpPr>
        <p:spPr>
          <a:xfrm>
            <a:off x="7863967" y="2119503"/>
            <a:ext cx="118109" cy="116839"/>
          </a:xfrm>
          <a:custGeom>
            <a:avLst/>
            <a:gdLst/>
            <a:ahLst/>
            <a:cxnLst/>
            <a:rect l="l" t="t" r="r" b="b"/>
            <a:pathLst>
              <a:path w="118109" h="116839">
                <a:moveTo>
                  <a:pt x="53975" y="0"/>
                </a:moveTo>
                <a:lnTo>
                  <a:pt x="14858" y="20193"/>
                </a:lnTo>
                <a:lnTo>
                  <a:pt x="0" y="52832"/>
                </a:lnTo>
                <a:lnTo>
                  <a:pt x="1524" y="62611"/>
                </a:lnTo>
                <a:lnTo>
                  <a:pt x="4444" y="75184"/>
                </a:lnTo>
                <a:lnTo>
                  <a:pt x="6096" y="84962"/>
                </a:lnTo>
                <a:lnTo>
                  <a:pt x="14604" y="94742"/>
                </a:lnTo>
                <a:lnTo>
                  <a:pt x="21716" y="101600"/>
                </a:lnTo>
                <a:lnTo>
                  <a:pt x="28828" y="108585"/>
                </a:lnTo>
                <a:lnTo>
                  <a:pt x="41528" y="112649"/>
                </a:lnTo>
                <a:lnTo>
                  <a:pt x="54355" y="116586"/>
                </a:lnTo>
                <a:lnTo>
                  <a:pt x="73913" y="113537"/>
                </a:lnTo>
                <a:lnTo>
                  <a:pt x="86486" y="110489"/>
                </a:lnTo>
                <a:lnTo>
                  <a:pt x="96265" y="101981"/>
                </a:lnTo>
                <a:lnTo>
                  <a:pt x="103248" y="94742"/>
                </a:lnTo>
                <a:lnTo>
                  <a:pt x="110108" y="87757"/>
                </a:lnTo>
                <a:lnTo>
                  <a:pt x="114173" y="74930"/>
                </a:lnTo>
                <a:lnTo>
                  <a:pt x="118109" y="62230"/>
                </a:lnTo>
                <a:lnTo>
                  <a:pt x="115061" y="42672"/>
                </a:lnTo>
                <a:lnTo>
                  <a:pt x="89153" y="6476"/>
                </a:lnTo>
                <a:lnTo>
                  <a:pt x="65277" y="1143"/>
                </a:lnTo>
                <a:lnTo>
                  <a:pt x="53975" y="0"/>
                </a:lnTo>
                <a:close/>
              </a:path>
            </a:pathLst>
          </a:custGeom>
          <a:solidFill>
            <a:srgbClr val="D9D9D9"/>
          </a:solidFill>
        </p:spPr>
        <p:txBody>
          <a:bodyPr wrap="square" lIns="0" tIns="0" rIns="0" bIns="0" rtlCol="0"/>
          <a:lstStyle/>
          <a:p>
            <a:endParaRPr/>
          </a:p>
        </p:txBody>
      </p:sp>
      <p:sp>
        <p:nvSpPr>
          <p:cNvPr id="148" name="object 148"/>
          <p:cNvSpPr/>
          <p:nvPr/>
        </p:nvSpPr>
        <p:spPr>
          <a:xfrm>
            <a:off x="7863967" y="2119503"/>
            <a:ext cx="118109" cy="116839"/>
          </a:xfrm>
          <a:custGeom>
            <a:avLst/>
            <a:gdLst/>
            <a:ahLst/>
            <a:cxnLst/>
            <a:rect l="l" t="t" r="r" b="b"/>
            <a:pathLst>
              <a:path w="118109" h="116839">
                <a:moveTo>
                  <a:pt x="53975" y="0"/>
                </a:moveTo>
                <a:lnTo>
                  <a:pt x="14858" y="20193"/>
                </a:lnTo>
                <a:lnTo>
                  <a:pt x="0" y="52832"/>
                </a:lnTo>
                <a:lnTo>
                  <a:pt x="1524" y="62611"/>
                </a:lnTo>
                <a:lnTo>
                  <a:pt x="4444" y="75184"/>
                </a:lnTo>
                <a:lnTo>
                  <a:pt x="6096" y="84962"/>
                </a:lnTo>
                <a:lnTo>
                  <a:pt x="14604" y="94742"/>
                </a:lnTo>
                <a:lnTo>
                  <a:pt x="21716" y="101600"/>
                </a:lnTo>
                <a:lnTo>
                  <a:pt x="28828" y="108585"/>
                </a:lnTo>
                <a:lnTo>
                  <a:pt x="41528" y="112649"/>
                </a:lnTo>
                <a:lnTo>
                  <a:pt x="54355" y="116586"/>
                </a:lnTo>
                <a:lnTo>
                  <a:pt x="73913" y="113537"/>
                </a:lnTo>
                <a:lnTo>
                  <a:pt x="86486" y="110489"/>
                </a:lnTo>
                <a:lnTo>
                  <a:pt x="96265" y="101981"/>
                </a:lnTo>
                <a:lnTo>
                  <a:pt x="103248" y="94742"/>
                </a:lnTo>
                <a:lnTo>
                  <a:pt x="110108" y="87757"/>
                </a:lnTo>
                <a:lnTo>
                  <a:pt x="114173" y="74930"/>
                </a:lnTo>
                <a:lnTo>
                  <a:pt x="118109" y="62230"/>
                </a:lnTo>
                <a:lnTo>
                  <a:pt x="115061" y="42672"/>
                </a:lnTo>
                <a:lnTo>
                  <a:pt x="89153" y="6476"/>
                </a:lnTo>
                <a:lnTo>
                  <a:pt x="65277" y="1143"/>
                </a:lnTo>
                <a:lnTo>
                  <a:pt x="53975" y="0"/>
                </a:lnTo>
                <a:close/>
              </a:path>
            </a:pathLst>
          </a:custGeom>
          <a:solidFill>
            <a:srgbClr val="D9D9D9"/>
          </a:solidFill>
        </p:spPr>
        <p:txBody>
          <a:bodyPr wrap="square" lIns="0" tIns="0" rIns="0" bIns="0" rtlCol="0"/>
          <a:lstStyle/>
          <a:p>
            <a:endParaRPr/>
          </a:p>
        </p:txBody>
      </p:sp>
      <p:sp>
        <p:nvSpPr>
          <p:cNvPr id="149" name="object 149"/>
          <p:cNvSpPr/>
          <p:nvPr/>
        </p:nvSpPr>
        <p:spPr>
          <a:xfrm>
            <a:off x="7652766" y="2094610"/>
            <a:ext cx="105410" cy="108585"/>
          </a:xfrm>
          <a:custGeom>
            <a:avLst/>
            <a:gdLst/>
            <a:ahLst/>
            <a:cxnLst/>
            <a:rect l="l" t="t" r="r" b="b"/>
            <a:pathLst>
              <a:path w="105409" h="108585">
                <a:moveTo>
                  <a:pt x="46862" y="0"/>
                </a:moveTo>
                <a:lnTo>
                  <a:pt x="38607" y="4317"/>
                </a:lnTo>
                <a:lnTo>
                  <a:pt x="28701" y="5841"/>
                </a:lnTo>
                <a:lnTo>
                  <a:pt x="21843" y="12953"/>
                </a:lnTo>
                <a:lnTo>
                  <a:pt x="10667" y="18796"/>
                </a:lnTo>
                <a:lnTo>
                  <a:pt x="8000" y="27304"/>
                </a:lnTo>
                <a:lnTo>
                  <a:pt x="2539" y="37211"/>
                </a:lnTo>
                <a:lnTo>
                  <a:pt x="0" y="59689"/>
                </a:lnTo>
                <a:lnTo>
                  <a:pt x="1524" y="69596"/>
                </a:lnTo>
                <a:lnTo>
                  <a:pt x="5841" y="77850"/>
                </a:lnTo>
                <a:lnTo>
                  <a:pt x="10286" y="86233"/>
                </a:lnTo>
                <a:lnTo>
                  <a:pt x="17399" y="93217"/>
                </a:lnTo>
                <a:lnTo>
                  <a:pt x="37210" y="104139"/>
                </a:lnTo>
                <a:lnTo>
                  <a:pt x="48513" y="105410"/>
                </a:lnTo>
                <a:lnTo>
                  <a:pt x="56895" y="108076"/>
                </a:lnTo>
                <a:lnTo>
                  <a:pt x="68072" y="102235"/>
                </a:lnTo>
                <a:lnTo>
                  <a:pt x="77977" y="100711"/>
                </a:lnTo>
                <a:lnTo>
                  <a:pt x="84835" y="93599"/>
                </a:lnTo>
                <a:lnTo>
                  <a:pt x="93217" y="89280"/>
                </a:lnTo>
                <a:lnTo>
                  <a:pt x="104139" y="69468"/>
                </a:lnTo>
                <a:lnTo>
                  <a:pt x="105409" y="58165"/>
                </a:lnTo>
                <a:lnTo>
                  <a:pt x="102361" y="38480"/>
                </a:lnTo>
                <a:lnTo>
                  <a:pt x="100710" y="28701"/>
                </a:lnTo>
                <a:lnTo>
                  <a:pt x="93599" y="21843"/>
                </a:lnTo>
                <a:lnTo>
                  <a:pt x="79375" y="7874"/>
                </a:lnTo>
                <a:lnTo>
                  <a:pt x="69468" y="2412"/>
                </a:lnTo>
                <a:lnTo>
                  <a:pt x="58165" y="1269"/>
                </a:lnTo>
                <a:lnTo>
                  <a:pt x="46862" y="0"/>
                </a:lnTo>
                <a:close/>
              </a:path>
            </a:pathLst>
          </a:custGeom>
          <a:solidFill>
            <a:srgbClr val="D9D9D9"/>
          </a:solidFill>
        </p:spPr>
        <p:txBody>
          <a:bodyPr wrap="square" lIns="0" tIns="0" rIns="0" bIns="0" rtlCol="0"/>
          <a:lstStyle/>
          <a:p>
            <a:endParaRPr/>
          </a:p>
        </p:txBody>
      </p:sp>
      <p:sp>
        <p:nvSpPr>
          <p:cNvPr id="150" name="object 150"/>
          <p:cNvSpPr/>
          <p:nvPr/>
        </p:nvSpPr>
        <p:spPr>
          <a:xfrm>
            <a:off x="7652766" y="2094610"/>
            <a:ext cx="105410" cy="108585"/>
          </a:xfrm>
          <a:custGeom>
            <a:avLst/>
            <a:gdLst/>
            <a:ahLst/>
            <a:cxnLst/>
            <a:rect l="l" t="t" r="r" b="b"/>
            <a:pathLst>
              <a:path w="105409" h="108585">
                <a:moveTo>
                  <a:pt x="46862" y="0"/>
                </a:moveTo>
                <a:lnTo>
                  <a:pt x="38607" y="4317"/>
                </a:lnTo>
                <a:lnTo>
                  <a:pt x="28701" y="5841"/>
                </a:lnTo>
                <a:lnTo>
                  <a:pt x="21843" y="12953"/>
                </a:lnTo>
                <a:lnTo>
                  <a:pt x="10667" y="18796"/>
                </a:lnTo>
                <a:lnTo>
                  <a:pt x="8000" y="27304"/>
                </a:lnTo>
                <a:lnTo>
                  <a:pt x="2539" y="37211"/>
                </a:lnTo>
                <a:lnTo>
                  <a:pt x="0" y="59689"/>
                </a:lnTo>
                <a:lnTo>
                  <a:pt x="1524" y="69596"/>
                </a:lnTo>
                <a:lnTo>
                  <a:pt x="5841" y="77850"/>
                </a:lnTo>
                <a:lnTo>
                  <a:pt x="10286" y="86233"/>
                </a:lnTo>
                <a:lnTo>
                  <a:pt x="17399" y="93217"/>
                </a:lnTo>
                <a:lnTo>
                  <a:pt x="37210" y="104139"/>
                </a:lnTo>
                <a:lnTo>
                  <a:pt x="48513" y="105410"/>
                </a:lnTo>
                <a:lnTo>
                  <a:pt x="56895" y="108076"/>
                </a:lnTo>
                <a:lnTo>
                  <a:pt x="68072" y="102235"/>
                </a:lnTo>
                <a:lnTo>
                  <a:pt x="77977" y="100711"/>
                </a:lnTo>
                <a:lnTo>
                  <a:pt x="84835" y="93599"/>
                </a:lnTo>
                <a:lnTo>
                  <a:pt x="93217" y="89280"/>
                </a:lnTo>
                <a:lnTo>
                  <a:pt x="104139" y="69468"/>
                </a:lnTo>
                <a:lnTo>
                  <a:pt x="105409" y="58165"/>
                </a:lnTo>
                <a:lnTo>
                  <a:pt x="102361" y="38480"/>
                </a:lnTo>
                <a:lnTo>
                  <a:pt x="100710" y="28701"/>
                </a:lnTo>
                <a:lnTo>
                  <a:pt x="93599" y="21843"/>
                </a:lnTo>
                <a:lnTo>
                  <a:pt x="79375" y="7874"/>
                </a:lnTo>
                <a:lnTo>
                  <a:pt x="69468" y="2412"/>
                </a:lnTo>
                <a:lnTo>
                  <a:pt x="58165" y="1269"/>
                </a:lnTo>
                <a:lnTo>
                  <a:pt x="46862" y="0"/>
                </a:lnTo>
                <a:close/>
              </a:path>
            </a:pathLst>
          </a:custGeom>
          <a:solidFill>
            <a:srgbClr val="D9D9D9"/>
          </a:solidFill>
        </p:spPr>
        <p:txBody>
          <a:bodyPr wrap="square" lIns="0" tIns="0" rIns="0" bIns="0" rtlCol="0"/>
          <a:lstStyle/>
          <a:p>
            <a:endParaRPr/>
          </a:p>
        </p:txBody>
      </p:sp>
      <p:sp>
        <p:nvSpPr>
          <p:cNvPr id="151" name="object 151"/>
          <p:cNvSpPr/>
          <p:nvPr/>
        </p:nvSpPr>
        <p:spPr>
          <a:xfrm>
            <a:off x="7437882" y="2109090"/>
            <a:ext cx="95885" cy="95885"/>
          </a:xfrm>
          <a:custGeom>
            <a:avLst/>
            <a:gdLst/>
            <a:ahLst/>
            <a:cxnLst/>
            <a:rect l="l" t="t" r="r" b="b"/>
            <a:pathLst>
              <a:path w="95884" h="95885">
                <a:moveTo>
                  <a:pt x="42672" y="0"/>
                </a:moveTo>
                <a:lnTo>
                  <a:pt x="6603" y="25781"/>
                </a:lnTo>
                <a:lnTo>
                  <a:pt x="0" y="54101"/>
                </a:lnTo>
                <a:lnTo>
                  <a:pt x="4445" y="69469"/>
                </a:lnTo>
                <a:lnTo>
                  <a:pt x="15875" y="84709"/>
                </a:lnTo>
                <a:lnTo>
                  <a:pt x="25781" y="90170"/>
                </a:lnTo>
                <a:lnTo>
                  <a:pt x="34290" y="92963"/>
                </a:lnTo>
                <a:lnTo>
                  <a:pt x="42799" y="95631"/>
                </a:lnTo>
                <a:lnTo>
                  <a:pt x="52577" y="93980"/>
                </a:lnTo>
                <a:lnTo>
                  <a:pt x="69342" y="92328"/>
                </a:lnTo>
                <a:lnTo>
                  <a:pt x="90170" y="70993"/>
                </a:lnTo>
                <a:lnTo>
                  <a:pt x="92837" y="62484"/>
                </a:lnTo>
                <a:lnTo>
                  <a:pt x="95503" y="54101"/>
                </a:lnTo>
                <a:lnTo>
                  <a:pt x="93979" y="44196"/>
                </a:lnTo>
                <a:lnTo>
                  <a:pt x="90932" y="24637"/>
                </a:lnTo>
                <a:lnTo>
                  <a:pt x="78104" y="13588"/>
                </a:lnTo>
                <a:lnTo>
                  <a:pt x="70993" y="6603"/>
                </a:lnTo>
                <a:lnTo>
                  <a:pt x="53975" y="1270"/>
                </a:lnTo>
                <a:lnTo>
                  <a:pt x="42672" y="0"/>
                </a:lnTo>
                <a:close/>
              </a:path>
            </a:pathLst>
          </a:custGeom>
          <a:solidFill>
            <a:srgbClr val="D9D9D9"/>
          </a:solidFill>
        </p:spPr>
        <p:txBody>
          <a:bodyPr wrap="square" lIns="0" tIns="0" rIns="0" bIns="0" rtlCol="0"/>
          <a:lstStyle/>
          <a:p>
            <a:endParaRPr/>
          </a:p>
        </p:txBody>
      </p:sp>
      <p:sp>
        <p:nvSpPr>
          <p:cNvPr id="152" name="object 152"/>
          <p:cNvSpPr/>
          <p:nvPr/>
        </p:nvSpPr>
        <p:spPr>
          <a:xfrm>
            <a:off x="7437882" y="2109090"/>
            <a:ext cx="95885" cy="95885"/>
          </a:xfrm>
          <a:custGeom>
            <a:avLst/>
            <a:gdLst/>
            <a:ahLst/>
            <a:cxnLst/>
            <a:rect l="l" t="t" r="r" b="b"/>
            <a:pathLst>
              <a:path w="95884" h="95885">
                <a:moveTo>
                  <a:pt x="42672" y="0"/>
                </a:moveTo>
                <a:lnTo>
                  <a:pt x="6603" y="25781"/>
                </a:lnTo>
                <a:lnTo>
                  <a:pt x="0" y="54101"/>
                </a:lnTo>
                <a:lnTo>
                  <a:pt x="4445" y="69469"/>
                </a:lnTo>
                <a:lnTo>
                  <a:pt x="15875" y="84709"/>
                </a:lnTo>
                <a:lnTo>
                  <a:pt x="25781" y="90170"/>
                </a:lnTo>
                <a:lnTo>
                  <a:pt x="34290" y="92963"/>
                </a:lnTo>
                <a:lnTo>
                  <a:pt x="42799" y="95631"/>
                </a:lnTo>
                <a:lnTo>
                  <a:pt x="52577" y="93980"/>
                </a:lnTo>
                <a:lnTo>
                  <a:pt x="69342" y="92328"/>
                </a:lnTo>
                <a:lnTo>
                  <a:pt x="90170" y="70993"/>
                </a:lnTo>
                <a:lnTo>
                  <a:pt x="92837" y="62484"/>
                </a:lnTo>
                <a:lnTo>
                  <a:pt x="95503" y="54101"/>
                </a:lnTo>
                <a:lnTo>
                  <a:pt x="93979" y="44196"/>
                </a:lnTo>
                <a:lnTo>
                  <a:pt x="90932" y="24637"/>
                </a:lnTo>
                <a:lnTo>
                  <a:pt x="78104" y="13588"/>
                </a:lnTo>
                <a:lnTo>
                  <a:pt x="70993" y="6603"/>
                </a:lnTo>
                <a:lnTo>
                  <a:pt x="53975" y="1270"/>
                </a:lnTo>
                <a:lnTo>
                  <a:pt x="42672" y="0"/>
                </a:lnTo>
                <a:close/>
              </a:path>
            </a:pathLst>
          </a:custGeom>
          <a:solidFill>
            <a:srgbClr val="D9D9D9"/>
          </a:solidFill>
        </p:spPr>
        <p:txBody>
          <a:bodyPr wrap="square" lIns="0" tIns="0" rIns="0" bIns="0" rtlCol="0"/>
          <a:lstStyle/>
          <a:p>
            <a:endParaRPr/>
          </a:p>
        </p:txBody>
      </p:sp>
      <p:sp>
        <p:nvSpPr>
          <p:cNvPr id="153" name="object 153"/>
          <p:cNvSpPr/>
          <p:nvPr/>
        </p:nvSpPr>
        <p:spPr>
          <a:xfrm>
            <a:off x="7227697" y="2162811"/>
            <a:ext cx="88900" cy="84455"/>
          </a:xfrm>
          <a:custGeom>
            <a:avLst/>
            <a:gdLst/>
            <a:ahLst/>
            <a:cxnLst/>
            <a:rect l="l" t="t" r="r" b="b"/>
            <a:pathLst>
              <a:path w="88900" h="84455">
                <a:moveTo>
                  <a:pt x="40004" y="0"/>
                </a:moveTo>
                <a:lnTo>
                  <a:pt x="24637" y="4444"/>
                </a:lnTo>
                <a:lnTo>
                  <a:pt x="12192" y="14477"/>
                </a:lnTo>
                <a:lnTo>
                  <a:pt x="2539" y="30099"/>
                </a:lnTo>
                <a:lnTo>
                  <a:pt x="0" y="45592"/>
                </a:lnTo>
                <a:lnTo>
                  <a:pt x="4445" y="60960"/>
                </a:lnTo>
                <a:lnTo>
                  <a:pt x="15875" y="76326"/>
                </a:lnTo>
                <a:lnTo>
                  <a:pt x="29972" y="83185"/>
                </a:lnTo>
                <a:lnTo>
                  <a:pt x="48259" y="84327"/>
                </a:lnTo>
                <a:lnTo>
                  <a:pt x="63753" y="79882"/>
                </a:lnTo>
                <a:lnTo>
                  <a:pt x="76200" y="69850"/>
                </a:lnTo>
                <a:lnTo>
                  <a:pt x="85851" y="54228"/>
                </a:lnTo>
                <a:lnTo>
                  <a:pt x="88392" y="38735"/>
                </a:lnTo>
                <a:lnTo>
                  <a:pt x="82550" y="20447"/>
                </a:lnTo>
                <a:lnTo>
                  <a:pt x="72517" y="8000"/>
                </a:lnTo>
                <a:lnTo>
                  <a:pt x="58293" y="1142"/>
                </a:lnTo>
                <a:lnTo>
                  <a:pt x="40004" y="0"/>
                </a:lnTo>
                <a:close/>
              </a:path>
            </a:pathLst>
          </a:custGeom>
          <a:solidFill>
            <a:srgbClr val="D9D9D9"/>
          </a:solidFill>
        </p:spPr>
        <p:txBody>
          <a:bodyPr wrap="square" lIns="0" tIns="0" rIns="0" bIns="0" rtlCol="0"/>
          <a:lstStyle/>
          <a:p>
            <a:endParaRPr/>
          </a:p>
        </p:txBody>
      </p:sp>
      <p:sp>
        <p:nvSpPr>
          <p:cNvPr id="154" name="object 154"/>
          <p:cNvSpPr/>
          <p:nvPr/>
        </p:nvSpPr>
        <p:spPr>
          <a:xfrm>
            <a:off x="7227697" y="2162811"/>
            <a:ext cx="88900" cy="84455"/>
          </a:xfrm>
          <a:custGeom>
            <a:avLst/>
            <a:gdLst/>
            <a:ahLst/>
            <a:cxnLst/>
            <a:rect l="l" t="t" r="r" b="b"/>
            <a:pathLst>
              <a:path w="88900" h="84455">
                <a:moveTo>
                  <a:pt x="40004" y="0"/>
                </a:moveTo>
                <a:lnTo>
                  <a:pt x="24637" y="4444"/>
                </a:lnTo>
                <a:lnTo>
                  <a:pt x="12192" y="14477"/>
                </a:lnTo>
                <a:lnTo>
                  <a:pt x="2539" y="30099"/>
                </a:lnTo>
                <a:lnTo>
                  <a:pt x="0" y="45592"/>
                </a:lnTo>
                <a:lnTo>
                  <a:pt x="4445" y="60960"/>
                </a:lnTo>
                <a:lnTo>
                  <a:pt x="15875" y="76326"/>
                </a:lnTo>
                <a:lnTo>
                  <a:pt x="29972" y="83185"/>
                </a:lnTo>
                <a:lnTo>
                  <a:pt x="48259" y="84327"/>
                </a:lnTo>
                <a:lnTo>
                  <a:pt x="63753" y="79882"/>
                </a:lnTo>
                <a:lnTo>
                  <a:pt x="76200" y="69850"/>
                </a:lnTo>
                <a:lnTo>
                  <a:pt x="85851" y="54228"/>
                </a:lnTo>
                <a:lnTo>
                  <a:pt x="88392" y="38735"/>
                </a:lnTo>
                <a:lnTo>
                  <a:pt x="82550" y="20447"/>
                </a:lnTo>
                <a:lnTo>
                  <a:pt x="72517" y="8000"/>
                </a:lnTo>
                <a:lnTo>
                  <a:pt x="58293" y="1142"/>
                </a:lnTo>
                <a:lnTo>
                  <a:pt x="40004" y="0"/>
                </a:lnTo>
                <a:close/>
              </a:path>
            </a:pathLst>
          </a:custGeom>
          <a:solidFill>
            <a:srgbClr val="D9D9D9"/>
          </a:solidFill>
        </p:spPr>
        <p:txBody>
          <a:bodyPr wrap="square" lIns="0" tIns="0" rIns="0" bIns="0" rtlCol="0"/>
          <a:lstStyle/>
          <a:p>
            <a:endParaRPr/>
          </a:p>
        </p:txBody>
      </p:sp>
      <p:sp>
        <p:nvSpPr>
          <p:cNvPr id="155" name="object 155"/>
          <p:cNvSpPr/>
          <p:nvPr/>
        </p:nvSpPr>
        <p:spPr>
          <a:xfrm>
            <a:off x="7030720" y="2250185"/>
            <a:ext cx="77470" cy="77470"/>
          </a:xfrm>
          <a:custGeom>
            <a:avLst/>
            <a:gdLst/>
            <a:ahLst/>
            <a:cxnLst/>
            <a:rect l="l" t="t" r="r" b="b"/>
            <a:pathLst>
              <a:path w="77470" h="77469">
                <a:moveTo>
                  <a:pt x="34416" y="0"/>
                </a:moveTo>
                <a:lnTo>
                  <a:pt x="19050" y="4444"/>
                </a:lnTo>
                <a:lnTo>
                  <a:pt x="9398" y="13080"/>
                </a:lnTo>
                <a:lnTo>
                  <a:pt x="2539" y="27177"/>
                </a:lnTo>
                <a:lnTo>
                  <a:pt x="0" y="42672"/>
                </a:lnTo>
                <a:lnTo>
                  <a:pt x="2921" y="55372"/>
                </a:lnTo>
                <a:lnTo>
                  <a:pt x="12953" y="67817"/>
                </a:lnTo>
                <a:lnTo>
                  <a:pt x="27177" y="74675"/>
                </a:lnTo>
                <a:lnTo>
                  <a:pt x="42672" y="77215"/>
                </a:lnTo>
                <a:lnTo>
                  <a:pt x="55245" y="74167"/>
                </a:lnTo>
                <a:lnTo>
                  <a:pt x="67818" y="64135"/>
                </a:lnTo>
                <a:lnTo>
                  <a:pt x="74549" y="50037"/>
                </a:lnTo>
                <a:lnTo>
                  <a:pt x="77215" y="34543"/>
                </a:lnTo>
                <a:lnTo>
                  <a:pt x="72771" y="19176"/>
                </a:lnTo>
                <a:lnTo>
                  <a:pt x="64134" y="9398"/>
                </a:lnTo>
                <a:lnTo>
                  <a:pt x="50037" y="2539"/>
                </a:lnTo>
                <a:lnTo>
                  <a:pt x="34416" y="0"/>
                </a:lnTo>
                <a:close/>
              </a:path>
            </a:pathLst>
          </a:custGeom>
          <a:solidFill>
            <a:srgbClr val="D9D9D9"/>
          </a:solidFill>
        </p:spPr>
        <p:txBody>
          <a:bodyPr wrap="square" lIns="0" tIns="0" rIns="0" bIns="0" rtlCol="0"/>
          <a:lstStyle/>
          <a:p>
            <a:endParaRPr/>
          </a:p>
        </p:txBody>
      </p:sp>
      <p:sp>
        <p:nvSpPr>
          <p:cNvPr id="156" name="object 156"/>
          <p:cNvSpPr/>
          <p:nvPr/>
        </p:nvSpPr>
        <p:spPr>
          <a:xfrm>
            <a:off x="7030720" y="2250185"/>
            <a:ext cx="77470" cy="77470"/>
          </a:xfrm>
          <a:custGeom>
            <a:avLst/>
            <a:gdLst/>
            <a:ahLst/>
            <a:cxnLst/>
            <a:rect l="l" t="t" r="r" b="b"/>
            <a:pathLst>
              <a:path w="77470" h="77469">
                <a:moveTo>
                  <a:pt x="34416" y="0"/>
                </a:moveTo>
                <a:lnTo>
                  <a:pt x="19050" y="4444"/>
                </a:lnTo>
                <a:lnTo>
                  <a:pt x="9398" y="13080"/>
                </a:lnTo>
                <a:lnTo>
                  <a:pt x="2539" y="27177"/>
                </a:lnTo>
                <a:lnTo>
                  <a:pt x="0" y="42672"/>
                </a:lnTo>
                <a:lnTo>
                  <a:pt x="2921" y="55372"/>
                </a:lnTo>
                <a:lnTo>
                  <a:pt x="12953" y="67817"/>
                </a:lnTo>
                <a:lnTo>
                  <a:pt x="27177" y="74675"/>
                </a:lnTo>
                <a:lnTo>
                  <a:pt x="42672" y="77215"/>
                </a:lnTo>
                <a:lnTo>
                  <a:pt x="55245" y="74167"/>
                </a:lnTo>
                <a:lnTo>
                  <a:pt x="67818" y="64135"/>
                </a:lnTo>
                <a:lnTo>
                  <a:pt x="74549" y="50037"/>
                </a:lnTo>
                <a:lnTo>
                  <a:pt x="77215" y="34543"/>
                </a:lnTo>
                <a:lnTo>
                  <a:pt x="72771" y="19176"/>
                </a:lnTo>
                <a:lnTo>
                  <a:pt x="64134" y="9398"/>
                </a:lnTo>
                <a:lnTo>
                  <a:pt x="50037" y="2539"/>
                </a:lnTo>
                <a:lnTo>
                  <a:pt x="34416" y="0"/>
                </a:lnTo>
                <a:close/>
              </a:path>
            </a:pathLst>
          </a:custGeom>
          <a:solidFill>
            <a:srgbClr val="D9D9D9"/>
          </a:solidFill>
        </p:spPr>
        <p:txBody>
          <a:bodyPr wrap="square" lIns="0" tIns="0" rIns="0" bIns="0" rtlCol="0"/>
          <a:lstStyle/>
          <a:p>
            <a:endParaRPr/>
          </a:p>
        </p:txBody>
      </p:sp>
      <p:sp>
        <p:nvSpPr>
          <p:cNvPr id="157" name="object 157"/>
          <p:cNvSpPr/>
          <p:nvPr/>
        </p:nvSpPr>
        <p:spPr>
          <a:xfrm>
            <a:off x="6849619" y="2371090"/>
            <a:ext cx="69215" cy="70485"/>
          </a:xfrm>
          <a:custGeom>
            <a:avLst/>
            <a:gdLst/>
            <a:ahLst/>
            <a:cxnLst/>
            <a:rect l="l" t="t" r="r" b="b"/>
            <a:pathLst>
              <a:path w="69215" h="70485">
                <a:moveTo>
                  <a:pt x="30352" y="0"/>
                </a:moveTo>
                <a:lnTo>
                  <a:pt x="17779" y="2921"/>
                </a:lnTo>
                <a:lnTo>
                  <a:pt x="8127" y="11557"/>
                </a:lnTo>
                <a:lnTo>
                  <a:pt x="1270" y="25654"/>
                </a:lnTo>
                <a:lnTo>
                  <a:pt x="0" y="36957"/>
                </a:lnTo>
                <a:lnTo>
                  <a:pt x="3048" y="49530"/>
                </a:lnTo>
                <a:lnTo>
                  <a:pt x="13080" y="62102"/>
                </a:lnTo>
                <a:lnTo>
                  <a:pt x="22986" y="67563"/>
                </a:lnTo>
                <a:lnTo>
                  <a:pt x="38480" y="70104"/>
                </a:lnTo>
                <a:lnTo>
                  <a:pt x="49656" y="64388"/>
                </a:lnTo>
                <a:lnTo>
                  <a:pt x="60832" y="58547"/>
                </a:lnTo>
                <a:lnTo>
                  <a:pt x="67563" y="44323"/>
                </a:lnTo>
                <a:lnTo>
                  <a:pt x="68833" y="33147"/>
                </a:lnTo>
                <a:lnTo>
                  <a:pt x="64388" y="17780"/>
                </a:lnTo>
                <a:lnTo>
                  <a:pt x="55879" y="8000"/>
                </a:lnTo>
                <a:lnTo>
                  <a:pt x="45847" y="2539"/>
                </a:lnTo>
                <a:lnTo>
                  <a:pt x="30352" y="0"/>
                </a:lnTo>
                <a:close/>
              </a:path>
            </a:pathLst>
          </a:custGeom>
          <a:solidFill>
            <a:srgbClr val="D9D9D9"/>
          </a:solidFill>
        </p:spPr>
        <p:txBody>
          <a:bodyPr wrap="square" lIns="0" tIns="0" rIns="0" bIns="0" rtlCol="0"/>
          <a:lstStyle/>
          <a:p>
            <a:endParaRPr/>
          </a:p>
        </p:txBody>
      </p:sp>
      <p:sp>
        <p:nvSpPr>
          <p:cNvPr id="158" name="object 158"/>
          <p:cNvSpPr/>
          <p:nvPr/>
        </p:nvSpPr>
        <p:spPr>
          <a:xfrm>
            <a:off x="6849619" y="2371090"/>
            <a:ext cx="69215" cy="70485"/>
          </a:xfrm>
          <a:custGeom>
            <a:avLst/>
            <a:gdLst/>
            <a:ahLst/>
            <a:cxnLst/>
            <a:rect l="l" t="t" r="r" b="b"/>
            <a:pathLst>
              <a:path w="69215" h="70485">
                <a:moveTo>
                  <a:pt x="30352" y="0"/>
                </a:moveTo>
                <a:lnTo>
                  <a:pt x="17779" y="2921"/>
                </a:lnTo>
                <a:lnTo>
                  <a:pt x="8127" y="11557"/>
                </a:lnTo>
                <a:lnTo>
                  <a:pt x="1270" y="25654"/>
                </a:lnTo>
                <a:lnTo>
                  <a:pt x="0" y="36957"/>
                </a:lnTo>
                <a:lnTo>
                  <a:pt x="3048" y="49530"/>
                </a:lnTo>
                <a:lnTo>
                  <a:pt x="13080" y="62102"/>
                </a:lnTo>
                <a:lnTo>
                  <a:pt x="22986" y="67563"/>
                </a:lnTo>
                <a:lnTo>
                  <a:pt x="38480" y="70104"/>
                </a:lnTo>
                <a:lnTo>
                  <a:pt x="49656" y="64388"/>
                </a:lnTo>
                <a:lnTo>
                  <a:pt x="60832" y="58547"/>
                </a:lnTo>
                <a:lnTo>
                  <a:pt x="67563" y="44323"/>
                </a:lnTo>
                <a:lnTo>
                  <a:pt x="68833" y="33147"/>
                </a:lnTo>
                <a:lnTo>
                  <a:pt x="64388" y="17780"/>
                </a:lnTo>
                <a:lnTo>
                  <a:pt x="55879" y="8000"/>
                </a:lnTo>
                <a:lnTo>
                  <a:pt x="45847" y="2539"/>
                </a:lnTo>
                <a:lnTo>
                  <a:pt x="30352" y="0"/>
                </a:lnTo>
                <a:close/>
              </a:path>
            </a:pathLst>
          </a:custGeom>
          <a:solidFill>
            <a:srgbClr val="D9D9D9"/>
          </a:solidFill>
        </p:spPr>
        <p:txBody>
          <a:bodyPr wrap="square" lIns="0" tIns="0" rIns="0" bIns="0" rtlCol="0"/>
          <a:lstStyle/>
          <a:p>
            <a:endParaRPr/>
          </a:p>
        </p:txBody>
      </p:sp>
      <p:sp>
        <p:nvSpPr>
          <p:cNvPr id="159" name="object 159"/>
          <p:cNvSpPr/>
          <p:nvPr/>
        </p:nvSpPr>
        <p:spPr>
          <a:xfrm>
            <a:off x="6689979" y="2522473"/>
            <a:ext cx="63501" cy="63500"/>
          </a:xfrm>
          <a:custGeom>
            <a:avLst/>
            <a:gdLst/>
            <a:ahLst/>
            <a:cxnLst/>
            <a:rect l="l" t="t" r="r" b="b"/>
            <a:pathLst>
              <a:path w="63500" h="63500">
                <a:moveTo>
                  <a:pt x="27813" y="0"/>
                </a:moveTo>
                <a:lnTo>
                  <a:pt x="16637" y="5714"/>
                </a:lnTo>
                <a:lnTo>
                  <a:pt x="8254" y="10160"/>
                </a:lnTo>
                <a:lnTo>
                  <a:pt x="0" y="21462"/>
                </a:lnTo>
                <a:lnTo>
                  <a:pt x="253" y="35560"/>
                </a:lnTo>
                <a:lnTo>
                  <a:pt x="1777" y="45338"/>
                </a:lnTo>
                <a:lnTo>
                  <a:pt x="10414" y="55117"/>
                </a:lnTo>
                <a:lnTo>
                  <a:pt x="20320" y="60578"/>
                </a:lnTo>
                <a:lnTo>
                  <a:pt x="35814" y="63118"/>
                </a:lnTo>
                <a:lnTo>
                  <a:pt x="55372" y="52959"/>
                </a:lnTo>
                <a:lnTo>
                  <a:pt x="59309" y="40259"/>
                </a:lnTo>
                <a:lnTo>
                  <a:pt x="63373" y="27559"/>
                </a:lnTo>
                <a:lnTo>
                  <a:pt x="57530" y="16383"/>
                </a:lnTo>
                <a:lnTo>
                  <a:pt x="53213" y="8000"/>
                </a:lnTo>
                <a:lnTo>
                  <a:pt x="39116" y="1270"/>
                </a:lnTo>
                <a:lnTo>
                  <a:pt x="27813" y="0"/>
                </a:lnTo>
                <a:close/>
              </a:path>
            </a:pathLst>
          </a:custGeom>
          <a:solidFill>
            <a:srgbClr val="D9D9D9"/>
          </a:solidFill>
        </p:spPr>
        <p:txBody>
          <a:bodyPr wrap="square" lIns="0" tIns="0" rIns="0" bIns="0" rtlCol="0"/>
          <a:lstStyle/>
          <a:p>
            <a:endParaRPr/>
          </a:p>
        </p:txBody>
      </p:sp>
      <p:sp>
        <p:nvSpPr>
          <p:cNvPr id="160" name="object 160"/>
          <p:cNvSpPr/>
          <p:nvPr/>
        </p:nvSpPr>
        <p:spPr>
          <a:xfrm>
            <a:off x="6689979" y="2522473"/>
            <a:ext cx="63501" cy="63500"/>
          </a:xfrm>
          <a:custGeom>
            <a:avLst/>
            <a:gdLst/>
            <a:ahLst/>
            <a:cxnLst/>
            <a:rect l="l" t="t" r="r" b="b"/>
            <a:pathLst>
              <a:path w="63500" h="63500">
                <a:moveTo>
                  <a:pt x="27813" y="0"/>
                </a:moveTo>
                <a:lnTo>
                  <a:pt x="16637" y="5714"/>
                </a:lnTo>
                <a:lnTo>
                  <a:pt x="8254" y="10160"/>
                </a:lnTo>
                <a:lnTo>
                  <a:pt x="0" y="21462"/>
                </a:lnTo>
                <a:lnTo>
                  <a:pt x="253" y="35560"/>
                </a:lnTo>
                <a:lnTo>
                  <a:pt x="1777" y="45338"/>
                </a:lnTo>
                <a:lnTo>
                  <a:pt x="10414" y="55117"/>
                </a:lnTo>
                <a:lnTo>
                  <a:pt x="20320" y="60578"/>
                </a:lnTo>
                <a:lnTo>
                  <a:pt x="35814" y="63118"/>
                </a:lnTo>
                <a:lnTo>
                  <a:pt x="55372" y="52959"/>
                </a:lnTo>
                <a:lnTo>
                  <a:pt x="59309" y="40259"/>
                </a:lnTo>
                <a:lnTo>
                  <a:pt x="63373" y="27559"/>
                </a:lnTo>
                <a:lnTo>
                  <a:pt x="57530" y="16383"/>
                </a:lnTo>
                <a:lnTo>
                  <a:pt x="53213" y="8000"/>
                </a:lnTo>
                <a:lnTo>
                  <a:pt x="39116" y="1270"/>
                </a:lnTo>
                <a:lnTo>
                  <a:pt x="27813" y="0"/>
                </a:lnTo>
                <a:close/>
              </a:path>
            </a:pathLst>
          </a:custGeom>
          <a:solidFill>
            <a:srgbClr val="D9D9D9"/>
          </a:solidFill>
        </p:spPr>
        <p:txBody>
          <a:bodyPr wrap="square" lIns="0" tIns="0" rIns="0" bIns="0" rtlCol="0"/>
          <a:lstStyle/>
          <a:p>
            <a:endParaRPr/>
          </a:p>
        </p:txBody>
      </p:sp>
      <p:sp>
        <p:nvSpPr>
          <p:cNvPr id="161" name="object 161"/>
          <p:cNvSpPr/>
          <p:nvPr/>
        </p:nvSpPr>
        <p:spPr>
          <a:xfrm>
            <a:off x="6560693" y="2701544"/>
            <a:ext cx="53340" cy="53340"/>
          </a:xfrm>
          <a:custGeom>
            <a:avLst/>
            <a:gdLst/>
            <a:ahLst/>
            <a:cxnLst/>
            <a:rect l="l" t="t" r="r" b="b"/>
            <a:pathLst>
              <a:path w="53340" h="53339">
                <a:moveTo>
                  <a:pt x="23367" y="0"/>
                </a:moveTo>
                <a:lnTo>
                  <a:pt x="13588" y="1523"/>
                </a:lnTo>
                <a:lnTo>
                  <a:pt x="6730" y="8635"/>
                </a:lnTo>
                <a:lnTo>
                  <a:pt x="1142" y="18668"/>
                </a:lnTo>
                <a:lnTo>
                  <a:pt x="0" y="29844"/>
                </a:lnTo>
                <a:lnTo>
                  <a:pt x="1524" y="39750"/>
                </a:lnTo>
                <a:lnTo>
                  <a:pt x="8635" y="46608"/>
                </a:lnTo>
                <a:lnTo>
                  <a:pt x="18541" y="52069"/>
                </a:lnTo>
                <a:lnTo>
                  <a:pt x="29845" y="53339"/>
                </a:lnTo>
                <a:lnTo>
                  <a:pt x="39624" y="51815"/>
                </a:lnTo>
                <a:lnTo>
                  <a:pt x="46608" y="44703"/>
                </a:lnTo>
                <a:lnTo>
                  <a:pt x="52070" y="34797"/>
                </a:lnTo>
                <a:lnTo>
                  <a:pt x="53339" y="23494"/>
                </a:lnTo>
                <a:lnTo>
                  <a:pt x="51688" y="13715"/>
                </a:lnTo>
                <a:lnTo>
                  <a:pt x="44576" y="6730"/>
                </a:lnTo>
                <a:lnTo>
                  <a:pt x="34671" y="1269"/>
                </a:lnTo>
                <a:lnTo>
                  <a:pt x="23367" y="0"/>
                </a:lnTo>
                <a:close/>
              </a:path>
            </a:pathLst>
          </a:custGeom>
          <a:solidFill>
            <a:srgbClr val="D9D9D9"/>
          </a:solidFill>
        </p:spPr>
        <p:txBody>
          <a:bodyPr wrap="square" lIns="0" tIns="0" rIns="0" bIns="0" rtlCol="0"/>
          <a:lstStyle/>
          <a:p>
            <a:endParaRPr/>
          </a:p>
        </p:txBody>
      </p:sp>
      <p:sp>
        <p:nvSpPr>
          <p:cNvPr id="162" name="object 162"/>
          <p:cNvSpPr/>
          <p:nvPr/>
        </p:nvSpPr>
        <p:spPr>
          <a:xfrm>
            <a:off x="6560693" y="2701544"/>
            <a:ext cx="53340" cy="53340"/>
          </a:xfrm>
          <a:custGeom>
            <a:avLst/>
            <a:gdLst/>
            <a:ahLst/>
            <a:cxnLst/>
            <a:rect l="l" t="t" r="r" b="b"/>
            <a:pathLst>
              <a:path w="53340" h="53339">
                <a:moveTo>
                  <a:pt x="23367" y="0"/>
                </a:moveTo>
                <a:lnTo>
                  <a:pt x="13588" y="1523"/>
                </a:lnTo>
                <a:lnTo>
                  <a:pt x="6730" y="8635"/>
                </a:lnTo>
                <a:lnTo>
                  <a:pt x="1142" y="18668"/>
                </a:lnTo>
                <a:lnTo>
                  <a:pt x="0" y="29844"/>
                </a:lnTo>
                <a:lnTo>
                  <a:pt x="1524" y="39750"/>
                </a:lnTo>
                <a:lnTo>
                  <a:pt x="8635" y="46608"/>
                </a:lnTo>
                <a:lnTo>
                  <a:pt x="18541" y="52069"/>
                </a:lnTo>
                <a:lnTo>
                  <a:pt x="29845" y="53339"/>
                </a:lnTo>
                <a:lnTo>
                  <a:pt x="39624" y="51815"/>
                </a:lnTo>
                <a:lnTo>
                  <a:pt x="46608" y="44703"/>
                </a:lnTo>
                <a:lnTo>
                  <a:pt x="52070" y="34797"/>
                </a:lnTo>
                <a:lnTo>
                  <a:pt x="53339" y="23494"/>
                </a:lnTo>
                <a:lnTo>
                  <a:pt x="51688" y="13715"/>
                </a:lnTo>
                <a:lnTo>
                  <a:pt x="44576" y="6730"/>
                </a:lnTo>
                <a:lnTo>
                  <a:pt x="34671" y="1269"/>
                </a:lnTo>
                <a:lnTo>
                  <a:pt x="23367" y="0"/>
                </a:lnTo>
                <a:close/>
              </a:path>
            </a:pathLst>
          </a:custGeom>
          <a:solidFill>
            <a:srgbClr val="D9D9D9"/>
          </a:solidFill>
        </p:spPr>
        <p:txBody>
          <a:bodyPr wrap="square" lIns="0" tIns="0" rIns="0" bIns="0" rtlCol="0"/>
          <a:lstStyle/>
          <a:p>
            <a:endParaRPr/>
          </a:p>
        </p:txBody>
      </p:sp>
      <p:sp>
        <p:nvSpPr>
          <p:cNvPr id="163" name="object 163"/>
          <p:cNvSpPr/>
          <p:nvPr/>
        </p:nvSpPr>
        <p:spPr>
          <a:xfrm>
            <a:off x="6459473" y="2896870"/>
            <a:ext cx="52069" cy="50800"/>
          </a:xfrm>
          <a:custGeom>
            <a:avLst/>
            <a:gdLst/>
            <a:ahLst/>
            <a:cxnLst/>
            <a:rect l="l" t="t" r="r" b="b"/>
            <a:pathLst>
              <a:path w="52070" h="50800">
                <a:moveTo>
                  <a:pt x="34798" y="0"/>
                </a:moveTo>
                <a:lnTo>
                  <a:pt x="24891" y="1524"/>
                </a:lnTo>
                <a:lnTo>
                  <a:pt x="15112" y="3175"/>
                </a:lnTo>
                <a:lnTo>
                  <a:pt x="8254" y="10287"/>
                </a:lnTo>
                <a:lnTo>
                  <a:pt x="1270" y="17399"/>
                </a:lnTo>
                <a:lnTo>
                  <a:pt x="0" y="28701"/>
                </a:lnTo>
                <a:lnTo>
                  <a:pt x="4317" y="36956"/>
                </a:lnTo>
                <a:lnTo>
                  <a:pt x="8762" y="45338"/>
                </a:lnTo>
                <a:lnTo>
                  <a:pt x="18668" y="50800"/>
                </a:lnTo>
                <a:lnTo>
                  <a:pt x="38226" y="47751"/>
                </a:lnTo>
                <a:lnTo>
                  <a:pt x="45211" y="40639"/>
                </a:lnTo>
                <a:lnTo>
                  <a:pt x="52070" y="33527"/>
                </a:lnTo>
                <a:lnTo>
                  <a:pt x="49022" y="13842"/>
                </a:lnTo>
                <a:lnTo>
                  <a:pt x="41910" y="6984"/>
                </a:lnTo>
                <a:lnTo>
                  <a:pt x="34798" y="0"/>
                </a:lnTo>
                <a:close/>
              </a:path>
            </a:pathLst>
          </a:custGeom>
          <a:solidFill>
            <a:srgbClr val="D9D9D9"/>
          </a:solidFill>
        </p:spPr>
        <p:txBody>
          <a:bodyPr wrap="square" lIns="0" tIns="0" rIns="0" bIns="0" rtlCol="0"/>
          <a:lstStyle/>
          <a:p>
            <a:endParaRPr/>
          </a:p>
        </p:txBody>
      </p:sp>
      <p:sp>
        <p:nvSpPr>
          <p:cNvPr id="164" name="object 164"/>
          <p:cNvSpPr/>
          <p:nvPr/>
        </p:nvSpPr>
        <p:spPr>
          <a:xfrm>
            <a:off x="6459473" y="2896870"/>
            <a:ext cx="52069" cy="50800"/>
          </a:xfrm>
          <a:custGeom>
            <a:avLst/>
            <a:gdLst/>
            <a:ahLst/>
            <a:cxnLst/>
            <a:rect l="l" t="t" r="r" b="b"/>
            <a:pathLst>
              <a:path w="52070" h="50800">
                <a:moveTo>
                  <a:pt x="34798" y="0"/>
                </a:moveTo>
                <a:lnTo>
                  <a:pt x="24891" y="1524"/>
                </a:lnTo>
                <a:lnTo>
                  <a:pt x="15112" y="3175"/>
                </a:lnTo>
                <a:lnTo>
                  <a:pt x="8254" y="10287"/>
                </a:lnTo>
                <a:lnTo>
                  <a:pt x="1270" y="17399"/>
                </a:lnTo>
                <a:lnTo>
                  <a:pt x="0" y="28701"/>
                </a:lnTo>
                <a:lnTo>
                  <a:pt x="4317" y="36956"/>
                </a:lnTo>
                <a:lnTo>
                  <a:pt x="8762" y="45338"/>
                </a:lnTo>
                <a:lnTo>
                  <a:pt x="18668" y="50800"/>
                </a:lnTo>
                <a:lnTo>
                  <a:pt x="38226" y="47751"/>
                </a:lnTo>
                <a:lnTo>
                  <a:pt x="45211" y="40639"/>
                </a:lnTo>
                <a:lnTo>
                  <a:pt x="52070" y="33527"/>
                </a:lnTo>
                <a:lnTo>
                  <a:pt x="49022" y="13842"/>
                </a:lnTo>
                <a:lnTo>
                  <a:pt x="41910" y="6984"/>
                </a:lnTo>
                <a:lnTo>
                  <a:pt x="34798" y="0"/>
                </a:lnTo>
                <a:close/>
              </a:path>
            </a:pathLst>
          </a:custGeom>
          <a:solidFill>
            <a:srgbClr val="D9D9D9"/>
          </a:solidFill>
        </p:spPr>
        <p:txBody>
          <a:bodyPr wrap="square" lIns="0" tIns="0" rIns="0" bIns="0" rtlCol="0"/>
          <a:lstStyle/>
          <a:p>
            <a:endParaRPr/>
          </a:p>
        </p:txBody>
      </p:sp>
      <p:sp>
        <p:nvSpPr>
          <p:cNvPr id="165" name="object 165"/>
          <p:cNvSpPr/>
          <p:nvPr/>
        </p:nvSpPr>
        <p:spPr>
          <a:xfrm>
            <a:off x="6396354" y="3108705"/>
            <a:ext cx="46991" cy="46990"/>
          </a:xfrm>
          <a:custGeom>
            <a:avLst/>
            <a:gdLst/>
            <a:ahLst/>
            <a:cxnLst/>
            <a:rect l="l" t="t" r="r" b="b"/>
            <a:pathLst>
              <a:path w="46989" h="46989">
                <a:moveTo>
                  <a:pt x="30734" y="0"/>
                </a:moveTo>
                <a:lnTo>
                  <a:pt x="20955" y="1651"/>
                </a:lnTo>
                <a:lnTo>
                  <a:pt x="11049" y="3175"/>
                </a:lnTo>
                <a:lnTo>
                  <a:pt x="6985" y="8763"/>
                </a:lnTo>
                <a:lnTo>
                  <a:pt x="0" y="16002"/>
                </a:lnTo>
                <a:lnTo>
                  <a:pt x="1650" y="25781"/>
                </a:lnTo>
                <a:lnTo>
                  <a:pt x="1650" y="32766"/>
                </a:lnTo>
                <a:lnTo>
                  <a:pt x="8762" y="39751"/>
                </a:lnTo>
                <a:lnTo>
                  <a:pt x="16002" y="46609"/>
                </a:lnTo>
                <a:lnTo>
                  <a:pt x="25781" y="45085"/>
                </a:lnTo>
                <a:lnTo>
                  <a:pt x="32766" y="44958"/>
                </a:lnTo>
                <a:lnTo>
                  <a:pt x="39750" y="37846"/>
                </a:lnTo>
                <a:lnTo>
                  <a:pt x="46609" y="30734"/>
                </a:lnTo>
                <a:lnTo>
                  <a:pt x="43561" y="11049"/>
                </a:lnTo>
                <a:lnTo>
                  <a:pt x="37846" y="6985"/>
                </a:lnTo>
                <a:lnTo>
                  <a:pt x="30734" y="0"/>
                </a:lnTo>
                <a:close/>
              </a:path>
            </a:pathLst>
          </a:custGeom>
          <a:solidFill>
            <a:srgbClr val="D9D9D9"/>
          </a:solidFill>
        </p:spPr>
        <p:txBody>
          <a:bodyPr wrap="square" lIns="0" tIns="0" rIns="0" bIns="0" rtlCol="0"/>
          <a:lstStyle/>
          <a:p>
            <a:endParaRPr/>
          </a:p>
        </p:txBody>
      </p:sp>
      <p:sp>
        <p:nvSpPr>
          <p:cNvPr id="166" name="object 166"/>
          <p:cNvSpPr/>
          <p:nvPr/>
        </p:nvSpPr>
        <p:spPr>
          <a:xfrm>
            <a:off x="6396354" y="3108705"/>
            <a:ext cx="46991" cy="46990"/>
          </a:xfrm>
          <a:custGeom>
            <a:avLst/>
            <a:gdLst/>
            <a:ahLst/>
            <a:cxnLst/>
            <a:rect l="l" t="t" r="r" b="b"/>
            <a:pathLst>
              <a:path w="46989" h="46989">
                <a:moveTo>
                  <a:pt x="30734" y="0"/>
                </a:moveTo>
                <a:lnTo>
                  <a:pt x="20955" y="1651"/>
                </a:lnTo>
                <a:lnTo>
                  <a:pt x="11049" y="3175"/>
                </a:lnTo>
                <a:lnTo>
                  <a:pt x="6985" y="8763"/>
                </a:lnTo>
                <a:lnTo>
                  <a:pt x="0" y="16002"/>
                </a:lnTo>
                <a:lnTo>
                  <a:pt x="1650" y="25781"/>
                </a:lnTo>
                <a:lnTo>
                  <a:pt x="1650" y="32766"/>
                </a:lnTo>
                <a:lnTo>
                  <a:pt x="8762" y="39751"/>
                </a:lnTo>
                <a:lnTo>
                  <a:pt x="16002" y="46609"/>
                </a:lnTo>
                <a:lnTo>
                  <a:pt x="25781" y="45085"/>
                </a:lnTo>
                <a:lnTo>
                  <a:pt x="32766" y="44958"/>
                </a:lnTo>
                <a:lnTo>
                  <a:pt x="39750" y="37846"/>
                </a:lnTo>
                <a:lnTo>
                  <a:pt x="46609" y="30734"/>
                </a:lnTo>
                <a:lnTo>
                  <a:pt x="43561" y="11049"/>
                </a:lnTo>
                <a:lnTo>
                  <a:pt x="37846" y="6985"/>
                </a:lnTo>
                <a:lnTo>
                  <a:pt x="30734" y="0"/>
                </a:lnTo>
                <a:close/>
              </a:path>
            </a:pathLst>
          </a:custGeom>
          <a:solidFill>
            <a:srgbClr val="D9D9D9"/>
          </a:solidFill>
        </p:spPr>
        <p:txBody>
          <a:bodyPr wrap="square" lIns="0" tIns="0" rIns="0" bIns="0" rtlCol="0"/>
          <a:lstStyle/>
          <a:p>
            <a:endParaRPr/>
          </a:p>
        </p:txBody>
      </p:sp>
      <p:sp>
        <p:nvSpPr>
          <p:cNvPr id="167" name="object 167"/>
          <p:cNvSpPr/>
          <p:nvPr/>
        </p:nvSpPr>
        <p:spPr>
          <a:xfrm>
            <a:off x="7460107" y="2295525"/>
            <a:ext cx="100330" cy="99060"/>
          </a:xfrm>
          <a:custGeom>
            <a:avLst/>
            <a:gdLst/>
            <a:ahLst/>
            <a:cxnLst/>
            <a:rect l="l" t="t" r="r" b="b"/>
            <a:pathLst>
              <a:path w="100329" h="99060">
                <a:moveTo>
                  <a:pt x="57023" y="0"/>
                </a:moveTo>
                <a:lnTo>
                  <a:pt x="8127" y="21844"/>
                </a:lnTo>
                <a:lnTo>
                  <a:pt x="0" y="40132"/>
                </a:lnTo>
                <a:lnTo>
                  <a:pt x="3048" y="59816"/>
                </a:lnTo>
                <a:lnTo>
                  <a:pt x="6096" y="72389"/>
                </a:lnTo>
                <a:lnTo>
                  <a:pt x="16128" y="84962"/>
                </a:lnTo>
                <a:lnTo>
                  <a:pt x="28956" y="96012"/>
                </a:lnTo>
                <a:lnTo>
                  <a:pt x="44450" y="98551"/>
                </a:lnTo>
                <a:lnTo>
                  <a:pt x="61214" y="96900"/>
                </a:lnTo>
                <a:lnTo>
                  <a:pt x="98678" y="59816"/>
                </a:lnTo>
                <a:lnTo>
                  <a:pt x="99949" y="48513"/>
                </a:lnTo>
                <a:lnTo>
                  <a:pt x="98298" y="38735"/>
                </a:lnTo>
                <a:lnTo>
                  <a:pt x="95376" y="26162"/>
                </a:lnTo>
                <a:lnTo>
                  <a:pt x="85344" y="13588"/>
                </a:lnTo>
                <a:lnTo>
                  <a:pt x="72517" y="2539"/>
                </a:lnTo>
                <a:lnTo>
                  <a:pt x="57023" y="0"/>
                </a:lnTo>
                <a:close/>
              </a:path>
            </a:pathLst>
          </a:custGeom>
          <a:solidFill>
            <a:srgbClr val="D9D9D9"/>
          </a:solidFill>
        </p:spPr>
        <p:txBody>
          <a:bodyPr wrap="square" lIns="0" tIns="0" rIns="0" bIns="0" rtlCol="0"/>
          <a:lstStyle/>
          <a:p>
            <a:endParaRPr/>
          </a:p>
        </p:txBody>
      </p:sp>
      <p:sp>
        <p:nvSpPr>
          <p:cNvPr id="168" name="object 168"/>
          <p:cNvSpPr/>
          <p:nvPr/>
        </p:nvSpPr>
        <p:spPr>
          <a:xfrm>
            <a:off x="7460107" y="2295525"/>
            <a:ext cx="100330" cy="99060"/>
          </a:xfrm>
          <a:custGeom>
            <a:avLst/>
            <a:gdLst/>
            <a:ahLst/>
            <a:cxnLst/>
            <a:rect l="l" t="t" r="r" b="b"/>
            <a:pathLst>
              <a:path w="100329" h="99060">
                <a:moveTo>
                  <a:pt x="57023" y="0"/>
                </a:moveTo>
                <a:lnTo>
                  <a:pt x="8127" y="21844"/>
                </a:lnTo>
                <a:lnTo>
                  <a:pt x="0" y="40132"/>
                </a:lnTo>
                <a:lnTo>
                  <a:pt x="3048" y="59816"/>
                </a:lnTo>
                <a:lnTo>
                  <a:pt x="6096" y="72389"/>
                </a:lnTo>
                <a:lnTo>
                  <a:pt x="16128" y="84962"/>
                </a:lnTo>
                <a:lnTo>
                  <a:pt x="28956" y="96012"/>
                </a:lnTo>
                <a:lnTo>
                  <a:pt x="44450" y="98551"/>
                </a:lnTo>
                <a:lnTo>
                  <a:pt x="61214" y="96900"/>
                </a:lnTo>
                <a:lnTo>
                  <a:pt x="98678" y="59816"/>
                </a:lnTo>
                <a:lnTo>
                  <a:pt x="99949" y="48513"/>
                </a:lnTo>
                <a:lnTo>
                  <a:pt x="98298" y="38735"/>
                </a:lnTo>
                <a:lnTo>
                  <a:pt x="95376" y="26162"/>
                </a:lnTo>
                <a:lnTo>
                  <a:pt x="85344" y="13588"/>
                </a:lnTo>
                <a:lnTo>
                  <a:pt x="72517" y="2539"/>
                </a:lnTo>
                <a:lnTo>
                  <a:pt x="57023" y="0"/>
                </a:lnTo>
                <a:close/>
              </a:path>
            </a:pathLst>
          </a:custGeom>
          <a:solidFill>
            <a:srgbClr val="D9D9D9"/>
          </a:solidFill>
        </p:spPr>
        <p:txBody>
          <a:bodyPr wrap="square" lIns="0" tIns="0" rIns="0" bIns="0" rtlCol="0"/>
          <a:lstStyle/>
          <a:p>
            <a:endParaRPr/>
          </a:p>
        </p:txBody>
      </p:sp>
      <p:sp>
        <p:nvSpPr>
          <p:cNvPr id="169" name="object 169"/>
          <p:cNvSpPr/>
          <p:nvPr/>
        </p:nvSpPr>
        <p:spPr>
          <a:xfrm>
            <a:off x="7651116" y="2291333"/>
            <a:ext cx="90805" cy="90170"/>
          </a:xfrm>
          <a:custGeom>
            <a:avLst/>
            <a:gdLst/>
            <a:ahLst/>
            <a:cxnLst/>
            <a:rect l="l" t="t" r="r" b="b"/>
            <a:pathLst>
              <a:path w="90804" h="90169">
                <a:moveTo>
                  <a:pt x="51434" y="0"/>
                </a:moveTo>
                <a:lnTo>
                  <a:pt x="34670" y="1650"/>
                </a:lnTo>
                <a:lnTo>
                  <a:pt x="20700" y="8889"/>
                </a:lnTo>
                <a:lnTo>
                  <a:pt x="9651" y="21716"/>
                </a:lnTo>
                <a:lnTo>
                  <a:pt x="0" y="37337"/>
                </a:lnTo>
                <a:lnTo>
                  <a:pt x="1650" y="54228"/>
                </a:lnTo>
                <a:lnTo>
                  <a:pt x="4699" y="66801"/>
                </a:lnTo>
                <a:lnTo>
                  <a:pt x="14731" y="79248"/>
                </a:lnTo>
                <a:lnTo>
                  <a:pt x="26034" y="87502"/>
                </a:lnTo>
                <a:lnTo>
                  <a:pt x="41528" y="90169"/>
                </a:lnTo>
                <a:lnTo>
                  <a:pt x="55625" y="89915"/>
                </a:lnTo>
                <a:lnTo>
                  <a:pt x="72389" y="81279"/>
                </a:lnTo>
                <a:lnTo>
                  <a:pt x="83438" y="68452"/>
                </a:lnTo>
                <a:lnTo>
                  <a:pt x="90296" y="54228"/>
                </a:lnTo>
                <a:lnTo>
                  <a:pt x="88645" y="37464"/>
                </a:lnTo>
                <a:lnTo>
                  <a:pt x="85598" y="24764"/>
                </a:lnTo>
                <a:lnTo>
                  <a:pt x="75564" y="12318"/>
                </a:lnTo>
                <a:lnTo>
                  <a:pt x="64261" y="4063"/>
                </a:lnTo>
                <a:lnTo>
                  <a:pt x="51434" y="0"/>
                </a:lnTo>
                <a:close/>
              </a:path>
            </a:pathLst>
          </a:custGeom>
          <a:solidFill>
            <a:srgbClr val="D9D9D9"/>
          </a:solidFill>
        </p:spPr>
        <p:txBody>
          <a:bodyPr wrap="square" lIns="0" tIns="0" rIns="0" bIns="0" rtlCol="0"/>
          <a:lstStyle/>
          <a:p>
            <a:endParaRPr/>
          </a:p>
        </p:txBody>
      </p:sp>
      <p:sp>
        <p:nvSpPr>
          <p:cNvPr id="170" name="object 170"/>
          <p:cNvSpPr/>
          <p:nvPr/>
        </p:nvSpPr>
        <p:spPr>
          <a:xfrm>
            <a:off x="7651116" y="2291333"/>
            <a:ext cx="90805" cy="90170"/>
          </a:xfrm>
          <a:custGeom>
            <a:avLst/>
            <a:gdLst/>
            <a:ahLst/>
            <a:cxnLst/>
            <a:rect l="l" t="t" r="r" b="b"/>
            <a:pathLst>
              <a:path w="90804" h="90169">
                <a:moveTo>
                  <a:pt x="51434" y="0"/>
                </a:moveTo>
                <a:lnTo>
                  <a:pt x="34670" y="1650"/>
                </a:lnTo>
                <a:lnTo>
                  <a:pt x="20700" y="8889"/>
                </a:lnTo>
                <a:lnTo>
                  <a:pt x="9651" y="21716"/>
                </a:lnTo>
                <a:lnTo>
                  <a:pt x="0" y="37337"/>
                </a:lnTo>
                <a:lnTo>
                  <a:pt x="1650" y="54228"/>
                </a:lnTo>
                <a:lnTo>
                  <a:pt x="4699" y="66801"/>
                </a:lnTo>
                <a:lnTo>
                  <a:pt x="14731" y="79248"/>
                </a:lnTo>
                <a:lnTo>
                  <a:pt x="26034" y="87502"/>
                </a:lnTo>
                <a:lnTo>
                  <a:pt x="41528" y="90169"/>
                </a:lnTo>
                <a:lnTo>
                  <a:pt x="55625" y="89915"/>
                </a:lnTo>
                <a:lnTo>
                  <a:pt x="72389" y="81279"/>
                </a:lnTo>
                <a:lnTo>
                  <a:pt x="83438" y="68452"/>
                </a:lnTo>
                <a:lnTo>
                  <a:pt x="90296" y="54228"/>
                </a:lnTo>
                <a:lnTo>
                  <a:pt x="88645" y="37464"/>
                </a:lnTo>
                <a:lnTo>
                  <a:pt x="85598" y="24764"/>
                </a:lnTo>
                <a:lnTo>
                  <a:pt x="75564" y="12318"/>
                </a:lnTo>
                <a:lnTo>
                  <a:pt x="64261" y="4063"/>
                </a:lnTo>
                <a:lnTo>
                  <a:pt x="51434" y="0"/>
                </a:lnTo>
                <a:close/>
              </a:path>
            </a:pathLst>
          </a:custGeom>
          <a:solidFill>
            <a:srgbClr val="D9D9D9"/>
          </a:solidFill>
        </p:spPr>
        <p:txBody>
          <a:bodyPr wrap="square" lIns="0" tIns="0" rIns="0" bIns="0" rtlCol="0"/>
          <a:lstStyle/>
          <a:p>
            <a:endParaRPr/>
          </a:p>
        </p:txBody>
      </p:sp>
      <p:sp>
        <p:nvSpPr>
          <p:cNvPr id="171" name="object 171"/>
          <p:cNvSpPr/>
          <p:nvPr/>
        </p:nvSpPr>
        <p:spPr>
          <a:xfrm>
            <a:off x="7841234" y="2322323"/>
            <a:ext cx="80645" cy="80645"/>
          </a:xfrm>
          <a:custGeom>
            <a:avLst/>
            <a:gdLst/>
            <a:ahLst/>
            <a:cxnLst/>
            <a:rect l="l" t="t" r="r" b="b"/>
            <a:pathLst>
              <a:path w="80645" h="80644">
                <a:moveTo>
                  <a:pt x="47371" y="0"/>
                </a:moveTo>
                <a:lnTo>
                  <a:pt x="33274" y="253"/>
                </a:lnTo>
                <a:lnTo>
                  <a:pt x="17907" y="4699"/>
                </a:lnTo>
                <a:lnTo>
                  <a:pt x="6858" y="17525"/>
                </a:lnTo>
                <a:lnTo>
                  <a:pt x="0" y="31623"/>
                </a:lnTo>
                <a:lnTo>
                  <a:pt x="1777" y="48513"/>
                </a:lnTo>
                <a:lnTo>
                  <a:pt x="6096" y="56895"/>
                </a:lnTo>
                <a:lnTo>
                  <a:pt x="11811" y="68072"/>
                </a:lnTo>
                <a:lnTo>
                  <a:pt x="23241" y="76326"/>
                </a:lnTo>
                <a:lnTo>
                  <a:pt x="35941" y="80263"/>
                </a:lnTo>
                <a:lnTo>
                  <a:pt x="48514" y="77342"/>
                </a:lnTo>
                <a:lnTo>
                  <a:pt x="63881" y="72898"/>
                </a:lnTo>
                <a:lnTo>
                  <a:pt x="74930" y="60070"/>
                </a:lnTo>
                <a:lnTo>
                  <a:pt x="78994" y="47370"/>
                </a:lnTo>
                <a:lnTo>
                  <a:pt x="80137" y="29082"/>
                </a:lnTo>
                <a:lnTo>
                  <a:pt x="75819" y="20700"/>
                </a:lnTo>
                <a:lnTo>
                  <a:pt x="58674" y="1269"/>
                </a:lnTo>
                <a:lnTo>
                  <a:pt x="47371" y="0"/>
                </a:lnTo>
                <a:close/>
              </a:path>
            </a:pathLst>
          </a:custGeom>
          <a:solidFill>
            <a:srgbClr val="D9D9D9"/>
          </a:solidFill>
        </p:spPr>
        <p:txBody>
          <a:bodyPr wrap="square" lIns="0" tIns="0" rIns="0" bIns="0" rtlCol="0"/>
          <a:lstStyle/>
          <a:p>
            <a:endParaRPr/>
          </a:p>
        </p:txBody>
      </p:sp>
      <p:sp>
        <p:nvSpPr>
          <p:cNvPr id="172" name="object 172"/>
          <p:cNvSpPr/>
          <p:nvPr/>
        </p:nvSpPr>
        <p:spPr>
          <a:xfrm>
            <a:off x="7841234" y="2322323"/>
            <a:ext cx="80645" cy="80645"/>
          </a:xfrm>
          <a:custGeom>
            <a:avLst/>
            <a:gdLst/>
            <a:ahLst/>
            <a:cxnLst/>
            <a:rect l="l" t="t" r="r" b="b"/>
            <a:pathLst>
              <a:path w="80645" h="80644">
                <a:moveTo>
                  <a:pt x="47371" y="0"/>
                </a:moveTo>
                <a:lnTo>
                  <a:pt x="33274" y="253"/>
                </a:lnTo>
                <a:lnTo>
                  <a:pt x="17907" y="4699"/>
                </a:lnTo>
                <a:lnTo>
                  <a:pt x="6858" y="17525"/>
                </a:lnTo>
                <a:lnTo>
                  <a:pt x="0" y="31623"/>
                </a:lnTo>
                <a:lnTo>
                  <a:pt x="1777" y="48513"/>
                </a:lnTo>
                <a:lnTo>
                  <a:pt x="6096" y="56895"/>
                </a:lnTo>
                <a:lnTo>
                  <a:pt x="11811" y="68072"/>
                </a:lnTo>
                <a:lnTo>
                  <a:pt x="23241" y="76326"/>
                </a:lnTo>
                <a:lnTo>
                  <a:pt x="35941" y="80263"/>
                </a:lnTo>
                <a:lnTo>
                  <a:pt x="48514" y="77342"/>
                </a:lnTo>
                <a:lnTo>
                  <a:pt x="63881" y="72898"/>
                </a:lnTo>
                <a:lnTo>
                  <a:pt x="74930" y="60070"/>
                </a:lnTo>
                <a:lnTo>
                  <a:pt x="78994" y="47370"/>
                </a:lnTo>
                <a:lnTo>
                  <a:pt x="80137" y="29082"/>
                </a:lnTo>
                <a:lnTo>
                  <a:pt x="75819" y="20700"/>
                </a:lnTo>
                <a:lnTo>
                  <a:pt x="58674" y="1269"/>
                </a:lnTo>
                <a:lnTo>
                  <a:pt x="47371" y="0"/>
                </a:lnTo>
                <a:close/>
              </a:path>
            </a:pathLst>
          </a:custGeom>
          <a:solidFill>
            <a:srgbClr val="D9D9D9"/>
          </a:solidFill>
        </p:spPr>
        <p:txBody>
          <a:bodyPr wrap="square" lIns="0" tIns="0" rIns="0" bIns="0" rtlCol="0"/>
          <a:lstStyle/>
          <a:p>
            <a:endParaRPr/>
          </a:p>
        </p:txBody>
      </p:sp>
      <p:sp>
        <p:nvSpPr>
          <p:cNvPr id="173" name="object 173"/>
          <p:cNvSpPr/>
          <p:nvPr/>
        </p:nvSpPr>
        <p:spPr>
          <a:xfrm>
            <a:off x="8023481" y="2383028"/>
            <a:ext cx="70485" cy="71755"/>
          </a:xfrm>
          <a:custGeom>
            <a:avLst/>
            <a:gdLst/>
            <a:ahLst/>
            <a:cxnLst/>
            <a:rect l="l" t="t" r="r" b="b"/>
            <a:pathLst>
              <a:path w="70484" h="71755">
                <a:moveTo>
                  <a:pt x="41782" y="0"/>
                </a:moveTo>
                <a:lnTo>
                  <a:pt x="27686" y="126"/>
                </a:lnTo>
                <a:lnTo>
                  <a:pt x="16510" y="5969"/>
                </a:lnTo>
                <a:lnTo>
                  <a:pt x="6857" y="14477"/>
                </a:lnTo>
                <a:lnTo>
                  <a:pt x="0" y="28701"/>
                </a:lnTo>
                <a:lnTo>
                  <a:pt x="253" y="42672"/>
                </a:lnTo>
                <a:lnTo>
                  <a:pt x="4572" y="51054"/>
                </a:lnTo>
                <a:lnTo>
                  <a:pt x="10414" y="62230"/>
                </a:lnTo>
                <a:lnTo>
                  <a:pt x="20320" y="67691"/>
                </a:lnTo>
                <a:lnTo>
                  <a:pt x="33020" y="71755"/>
                </a:lnTo>
                <a:lnTo>
                  <a:pt x="42799" y="70231"/>
                </a:lnTo>
                <a:lnTo>
                  <a:pt x="56769" y="62992"/>
                </a:lnTo>
                <a:lnTo>
                  <a:pt x="66421" y="54356"/>
                </a:lnTo>
                <a:lnTo>
                  <a:pt x="70485" y="41656"/>
                </a:lnTo>
                <a:lnTo>
                  <a:pt x="70230" y="27686"/>
                </a:lnTo>
                <a:lnTo>
                  <a:pt x="68706" y="17780"/>
                </a:lnTo>
                <a:lnTo>
                  <a:pt x="60198" y="8127"/>
                </a:lnTo>
                <a:lnTo>
                  <a:pt x="53086" y="1143"/>
                </a:lnTo>
                <a:lnTo>
                  <a:pt x="41782" y="0"/>
                </a:lnTo>
                <a:close/>
              </a:path>
            </a:pathLst>
          </a:custGeom>
          <a:solidFill>
            <a:srgbClr val="D9D9D9"/>
          </a:solidFill>
        </p:spPr>
        <p:txBody>
          <a:bodyPr wrap="square" lIns="0" tIns="0" rIns="0" bIns="0" rtlCol="0"/>
          <a:lstStyle/>
          <a:p>
            <a:endParaRPr/>
          </a:p>
        </p:txBody>
      </p:sp>
      <p:sp>
        <p:nvSpPr>
          <p:cNvPr id="174" name="object 174"/>
          <p:cNvSpPr/>
          <p:nvPr/>
        </p:nvSpPr>
        <p:spPr>
          <a:xfrm>
            <a:off x="8023481" y="2383028"/>
            <a:ext cx="70485" cy="71755"/>
          </a:xfrm>
          <a:custGeom>
            <a:avLst/>
            <a:gdLst/>
            <a:ahLst/>
            <a:cxnLst/>
            <a:rect l="l" t="t" r="r" b="b"/>
            <a:pathLst>
              <a:path w="70484" h="71755">
                <a:moveTo>
                  <a:pt x="41782" y="0"/>
                </a:moveTo>
                <a:lnTo>
                  <a:pt x="27686" y="126"/>
                </a:lnTo>
                <a:lnTo>
                  <a:pt x="16510" y="5969"/>
                </a:lnTo>
                <a:lnTo>
                  <a:pt x="6857" y="14477"/>
                </a:lnTo>
                <a:lnTo>
                  <a:pt x="0" y="28701"/>
                </a:lnTo>
                <a:lnTo>
                  <a:pt x="253" y="42672"/>
                </a:lnTo>
                <a:lnTo>
                  <a:pt x="4572" y="51054"/>
                </a:lnTo>
                <a:lnTo>
                  <a:pt x="10414" y="62230"/>
                </a:lnTo>
                <a:lnTo>
                  <a:pt x="20320" y="67691"/>
                </a:lnTo>
                <a:lnTo>
                  <a:pt x="33020" y="71755"/>
                </a:lnTo>
                <a:lnTo>
                  <a:pt x="42799" y="70231"/>
                </a:lnTo>
                <a:lnTo>
                  <a:pt x="56769" y="62992"/>
                </a:lnTo>
                <a:lnTo>
                  <a:pt x="66421" y="54356"/>
                </a:lnTo>
                <a:lnTo>
                  <a:pt x="70485" y="41656"/>
                </a:lnTo>
                <a:lnTo>
                  <a:pt x="70230" y="27686"/>
                </a:lnTo>
                <a:lnTo>
                  <a:pt x="68706" y="17780"/>
                </a:lnTo>
                <a:lnTo>
                  <a:pt x="60198" y="8127"/>
                </a:lnTo>
                <a:lnTo>
                  <a:pt x="53086" y="1143"/>
                </a:lnTo>
                <a:lnTo>
                  <a:pt x="41782" y="0"/>
                </a:lnTo>
                <a:close/>
              </a:path>
            </a:pathLst>
          </a:custGeom>
          <a:solidFill>
            <a:srgbClr val="D9D9D9"/>
          </a:solidFill>
        </p:spPr>
        <p:txBody>
          <a:bodyPr wrap="square" lIns="0" tIns="0" rIns="0" bIns="0" rtlCol="0"/>
          <a:lstStyle/>
          <a:p>
            <a:endParaRPr/>
          </a:p>
        </p:txBody>
      </p:sp>
      <p:sp>
        <p:nvSpPr>
          <p:cNvPr id="175" name="object 175"/>
          <p:cNvSpPr/>
          <p:nvPr/>
        </p:nvSpPr>
        <p:spPr>
          <a:xfrm>
            <a:off x="8192008" y="2471928"/>
            <a:ext cx="66676" cy="64769"/>
          </a:xfrm>
          <a:custGeom>
            <a:avLst/>
            <a:gdLst/>
            <a:ahLst/>
            <a:cxnLst/>
            <a:rect l="l" t="t" r="r" b="b"/>
            <a:pathLst>
              <a:path w="66675" h="64769">
                <a:moveTo>
                  <a:pt x="36195" y="0"/>
                </a:moveTo>
                <a:lnTo>
                  <a:pt x="26416" y="1524"/>
                </a:lnTo>
                <a:lnTo>
                  <a:pt x="13843" y="4572"/>
                </a:lnTo>
                <a:lnTo>
                  <a:pt x="5461" y="15875"/>
                </a:lnTo>
                <a:lnTo>
                  <a:pt x="0" y="25781"/>
                </a:lnTo>
                <a:lnTo>
                  <a:pt x="253" y="39877"/>
                </a:lnTo>
                <a:lnTo>
                  <a:pt x="4572" y="48260"/>
                </a:lnTo>
                <a:lnTo>
                  <a:pt x="11684" y="55118"/>
                </a:lnTo>
                <a:lnTo>
                  <a:pt x="18796" y="62102"/>
                </a:lnTo>
                <a:lnTo>
                  <a:pt x="41401" y="64643"/>
                </a:lnTo>
                <a:lnTo>
                  <a:pt x="52577" y="58800"/>
                </a:lnTo>
                <a:lnTo>
                  <a:pt x="62230" y="50164"/>
                </a:lnTo>
                <a:lnTo>
                  <a:pt x="66294" y="37464"/>
                </a:lnTo>
                <a:lnTo>
                  <a:pt x="63246" y="24892"/>
                </a:lnTo>
                <a:lnTo>
                  <a:pt x="63246" y="17907"/>
                </a:lnTo>
                <a:lnTo>
                  <a:pt x="54610" y="8127"/>
                </a:lnTo>
                <a:lnTo>
                  <a:pt x="47498" y="1270"/>
                </a:lnTo>
                <a:lnTo>
                  <a:pt x="36195" y="0"/>
                </a:lnTo>
                <a:close/>
              </a:path>
            </a:pathLst>
          </a:custGeom>
          <a:solidFill>
            <a:srgbClr val="D9D9D9"/>
          </a:solidFill>
        </p:spPr>
        <p:txBody>
          <a:bodyPr wrap="square" lIns="0" tIns="0" rIns="0" bIns="0" rtlCol="0"/>
          <a:lstStyle/>
          <a:p>
            <a:endParaRPr/>
          </a:p>
        </p:txBody>
      </p:sp>
      <p:sp>
        <p:nvSpPr>
          <p:cNvPr id="176" name="object 176"/>
          <p:cNvSpPr/>
          <p:nvPr/>
        </p:nvSpPr>
        <p:spPr>
          <a:xfrm>
            <a:off x="8192008" y="2471928"/>
            <a:ext cx="66676" cy="64769"/>
          </a:xfrm>
          <a:custGeom>
            <a:avLst/>
            <a:gdLst/>
            <a:ahLst/>
            <a:cxnLst/>
            <a:rect l="l" t="t" r="r" b="b"/>
            <a:pathLst>
              <a:path w="66675" h="64769">
                <a:moveTo>
                  <a:pt x="36195" y="0"/>
                </a:moveTo>
                <a:lnTo>
                  <a:pt x="26416" y="1524"/>
                </a:lnTo>
                <a:lnTo>
                  <a:pt x="13843" y="4572"/>
                </a:lnTo>
                <a:lnTo>
                  <a:pt x="5461" y="15875"/>
                </a:lnTo>
                <a:lnTo>
                  <a:pt x="0" y="25781"/>
                </a:lnTo>
                <a:lnTo>
                  <a:pt x="253" y="39877"/>
                </a:lnTo>
                <a:lnTo>
                  <a:pt x="4572" y="48260"/>
                </a:lnTo>
                <a:lnTo>
                  <a:pt x="11684" y="55118"/>
                </a:lnTo>
                <a:lnTo>
                  <a:pt x="18796" y="62102"/>
                </a:lnTo>
                <a:lnTo>
                  <a:pt x="41401" y="64643"/>
                </a:lnTo>
                <a:lnTo>
                  <a:pt x="52577" y="58800"/>
                </a:lnTo>
                <a:lnTo>
                  <a:pt x="62230" y="50164"/>
                </a:lnTo>
                <a:lnTo>
                  <a:pt x="66294" y="37464"/>
                </a:lnTo>
                <a:lnTo>
                  <a:pt x="63246" y="24892"/>
                </a:lnTo>
                <a:lnTo>
                  <a:pt x="63246" y="17907"/>
                </a:lnTo>
                <a:lnTo>
                  <a:pt x="54610" y="8127"/>
                </a:lnTo>
                <a:lnTo>
                  <a:pt x="47498" y="1270"/>
                </a:lnTo>
                <a:lnTo>
                  <a:pt x="36195" y="0"/>
                </a:lnTo>
                <a:close/>
              </a:path>
            </a:pathLst>
          </a:custGeom>
          <a:solidFill>
            <a:srgbClr val="D9D9D9"/>
          </a:solidFill>
        </p:spPr>
        <p:txBody>
          <a:bodyPr wrap="square" lIns="0" tIns="0" rIns="0" bIns="0" rtlCol="0"/>
          <a:lstStyle/>
          <a:p>
            <a:endParaRPr/>
          </a:p>
        </p:txBody>
      </p:sp>
      <p:sp>
        <p:nvSpPr>
          <p:cNvPr id="177" name="object 177"/>
          <p:cNvSpPr/>
          <p:nvPr/>
        </p:nvSpPr>
        <p:spPr>
          <a:xfrm>
            <a:off x="8343010" y="2588005"/>
            <a:ext cx="59055" cy="60325"/>
          </a:xfrm>
          <a:custGeom>
            <a:avLst/>
            <a:gdLst/>
            <a:ahLst/>
            <a:cxnLst/>
            <a:rect l="l" t="t" r="r" b="b"/>
            <a:pathLst>
              <a:path w="59054" h="60325">
                <a:moveTo>
                  <a:pt x="23241" y="0"/>
                </a:moveTo>
                <a:lnTo>
                  <a:pt x="12065" y="5715"/>
                </a:lnTo>
                <a:lnTo>
                  <a:pt x="5207" y="12827"/>
                </a:lnTo>
                <a:lnTo>
                  <a:pt x="1143" y="25527"/>
                </a:lnTo>
                <a:lnTo>
                  <a:pt x="0" y="36830"/>
                </a:lnTo>
                <a:lnTo>
                  <a:pt x="4318" y="45212"/>
                </a:lnTo>
                <a:lnTo>
                  <a:pt x="11430" y="52197"/>
                </a:lnTo>
                <a:lnTo>
                  <a:pt x="17145" y="56261"/>
                </a:lnTo>
                <a:lnTo>
                  <a:pt x="25527" y="58928"/>
                </a:lnTo>
                <a:lnTo>
                  <a:pt x="36830" y="60198"/>
                </a:lnTo>
                <a:lnTo>
                  <a:pt x="48006" y="54356"/>
                </a:lnTo>
                <a:lnTo>
                  <a:pt x="54864" y="47244"/>
                </a:lnTo>
                <a:lnTo>
                  <a:pt x="58928" y="34544"/>
                </a:lnTo>
                <a:lnTo>
                  <a:pt x="57404" y="24765"/>
                </a:lnTo>
                <a:lnTo>
                  <a:pt x="57277" y="17780"/>
                </a:lnTo>
                <a:lnTo>
                  <a:pt x="50165" y="10795"/>
                </a:lnTo>
                <a:lnTo>
                  <a:pt x="43053" y="3937"/>
                </a:lnTo>
                <a:lnTo>
                  <a:pt x="34544" y="1143"/>
                </a:lnTo>
                <a:lnTo>
                  <a:pt x="23241" y="0"/>
                </a:lnTo>
                <a:close/>
              </a:path>
            </a:pathLst>
          </a:custGeom>
          <a:solidFill>
            <a:srgbClr val="D9D9D9"/>
          </a:solidFill>
        </p:spPr>
        <p:txBody>
          <a:bodyPr wrap="square" lIns="0" tIns="0" rIns="0" bIns="0" rtlCol="0"/>
          <a:lstStyle/>
          <a:p>
            <a:endParaRPr/>
          </a:p>
        </p:txBody>
      </p:sp>
      <p:sp>
        <p:nvSpPr>
          <p:cNvPr id="178" name="object 178"/>
          <p:cNvSpPr/>
          <p:nvPr/>
        </p:nvSpPr>
        <p:spPr>
          <a:xfrm>
            <a:off x="8343010" y="2588005"/>
            <a:ext cx="59055" cy="60325"/>
          </a:xfrm>
          <a:custGeom>
            <a:avLst/>
            <a:gdLst/>
            <a:ahLst/>
            <a:cxnLst/>
            <a:rect l="l" t="t" r="r" b="b"/>
            <a:pathLst>
              <a:path w="59054" h="60325">
                <a:moveTo>
                  <a:pt x="23241" y="0"/>
                </a:moveTo>
                <a:lnTo>
                  <a:pt x="12065" y="5715"/>
                </a:lnTo>
                <a:lnTo>
                  <a:pt x="5207" y="12827"/>
                </a:lnTo>
                <a:lnTo>
                  <a:pt x="1143" y="25527"/>
                </a:lnTo>
                <a:lnTo>
                  <a:pt x="0" y="36830"/>
                </a:lnTo>
                <a:lnTo>
                  <a:pt x="4318" y="45212"/>
                </a:lnTo>
                <a:lnTo>
                  <a:pt x="11430" y="52197"/>
                </a:lnTo>
                <a:lnTo>
                  <a:pt x="17145" y="56261"/>
                </a:lnTo>
                <a:lnTo>
                  <a:pt x="25527" y="58928"/>
                </a:lnTo>
                <a:lnTo>
                  <a:pt x="36830" y="60198"/>
                </a:lnTo>
                <a:lnTo>
                  <a:pt x="48006" y="54356"/>
                </a:lnTo>
                <a:lnTo>
                  <a:pt x="54864" y="47244"/>
                </a:lnTo>
                <a:lnTo>
                  <a:pt x="58928" y="34544"/>
                </a:lnTo>
                <a:lnTo>
                  <a:pt x="57404" y="24765"/>
                </a:lnTo>
                <a:lnTo>
                  <a:pt x="57277" y="17780"/>
                </a:lnTo>
                <a:lnTo>
                  <a:pt x="50165" y="10795"/>
                </a:lnTo>
                <a:lnTo>
                  <a:pt x="43053" y="3937"/>
                </a:lnTo>
                <a:lnTo>
                  <a:pt x="34544" y="1143"/>
                </a:lnTo>
                <a:lnTo>
                  <a:pt x="23241" y="0"/>
                </a:lnTo>
                <a:close/>
              </a:path>
            </a:pathLst>
          </a:custGeom>
          <a:solidFill>
            <a:srgbClr val="D9D9D9"/>
          </a:solidFill>
        </p:spPr>
        <p:txBody>
          <a:bodyPr wrap="square" lIns="0" tIns="0" rIns="0" bIns="0" rtlCol="0"/>
          <a:lstStyle/>
          <a:p>
            <a:endParaRPr/>
          </a:p>
        </p:txBody>
      </p:sp>
      <p:sp>
        <p:nvSpPr>
          <p:cNvPr id="179" name="object 179"/>
          <p:cNvSpPr/>
          <p:nvPr/>
        </p:nvSpPr>
        <p:spPr>
          <a:xfrm>
            <a:off x="8472805" y="2729357"/>
            <a:ext cx="52069" cy="53975"/>
          </a:xfrm>
          <a:custGeom>
            <a:avLst/>
            <a:gdLst/>
            <a:ahLst/>
            <a:cxnLst/>
            <a:rect l="l" t="t" r="r" b="b"/>
            <a:pathLst>
              <a:path w="52070" h="53975">
                <a:moveTo>
                  <a:pt x="30479" y="0"/>
                </a:moveTo>
                <a:lnTo>
                  <a:pt x="20700" y="1523"/>
                </a:lnTo>
                <a:lnTo>
                  <a:pt x="12319" y="5841"/>
                </a:lnTo>
                <a:lnTo>
                  <a:pt x="5461" y="12953"/>
                </a:lnTo>
                <a:lnTo>
                  <a:pt x="0" y="22859"/>
                </a:lnTo>
                <a:lnTo>
                  <a:pt x="1524" y="32765"/>
                </a:lnTo>
                <a:lnTo>
                  <a:pt x="1650" y="39750"/>
                </a:lnTo>
                <a:lnTo>
                  <a:pt x="8763" y="46608"/>
                </a:lnTo>
                <a:lnTo>
                  <a:pt x="14477" y="50800"/>
                </a:lnTo>
                <a:lnTo>
                  <a:pt x="22860" y="53466"/>
                </a:lnTo>
                <a:lnTo>
                  <a:pt x="32766" y="51942"/>
                </a:lnTo>
                <a:lnTo>
                  <a:pt x="41148" y="47625"/>
                </a:lnTo>
                <a:lnTo>
                  <a:pt x="48005" y="40512"/>
                </a:lnTo>
                <a:lnTo>
                  <a:pt x="50673" y="32003"/>
                </a:lnTo>
                <a:lnTo>
                  <a:pt x="51943" y="20700"/>
                </a:lnTo>
                <a:lnTo>
                  <a:pt x="49022" y="15112"/>
                </a:lnTo>
                <a:lnTo>
                  <a:pt x="44703" y="6730"/>
                </a:lnTo>
                <a:lnTo>
                  <a:pt x="38989" y="2666"/>
                </a:lnTo>
                <a:lnTo>
                  <a:pt x="30479" y="0"/>
                </a:lnTo>
                <a:close/>
              </a:path>
            </a:pathLst>
          </a:custGeom>
          <a:solidFill>
            <a:srgbClr val="D9D9D9"/>
          </a:solidFill>
        </p:spPr>
        <p:txBody>
          <a:bodyPr wrap="square" lIns="0" tIns="0" rIns="0" bIns="0" rtlCol="0"/>
          <a:lstStyle/>
          <a:p>
            <a:endParaRPr/>
          </a:p>
        </p:txBody>
      </p:sp>
      <p:sp>
        <p:nvSpPr>
          <p:cNvPr id="180" name="object 180"/>
          <p:cNvSpPr/>
          <p:nvPr/>
        </p:nvSpPr>
        <p:spPr>
          <a:xfrm>
            <a:off x="8472805" y="2729357"/>
            <a:ext cx="52069" cy="53975"/>
          </a:xfrm>
          <a:custGeom>
            <a:avLst/>
            <a:gdLst/>
            <a:ahLst/>
            <a:cxnLst/>
            <a:rect l="l" t="t" r="r" b="b"/>
            <a:pathLst>
              <a:path w="52070" h="53975">
                <a:moveTo>
                  <a:pt x="30479" y="0"/>
                </a:moveTo>
                <a:lnTo>
                  <a:pt x="20700" y="1523"/>
                </a:lnTo>
                <a:lnTo>
                  <a:pt x="12319" y="5841"/>
                </a:lnTo>
                <a:lnTo>
                  <a:pt x="5461" y="12953"/>
                </a:lnTo>
                <a:lnTo>
                  <a:pt x="0" y="22859"/>
                </a:lnTo>
                <a:lnTo>
                  <a:pt x="1524" y="32765"/>
                </a:lnTo>
                <a:lnTo>
                  <a:pt x="1650" y="39750"/>
                </a:lnTo>
                <a:lnTo>
                  <a:pt x="8763" y="46608"/>
                </a:lnTo>
                <a:lnTo>
                  <a:pt x="14477" y="50800"/>
                </a:lnTo>
                <a:lnTo>
                  <a:pt x="22860" y="53466"/>
                </a:lnTo>
                <a:lnTo>
                  <a:pt x="32766" y="51942"/>
                </a:lnTo>
                <a:lnTo>
                  <a:pt x="41148" y="47625"/>
                </a:lnTo>
                <a:lnTo>
                  <a:pt x="48005" y="40512"/>
                </a:lnTo>
                <a:lnTo>
                  <a:pt x="50673" y="32003"/>
                </a:lnTo>
                <a:lnTo>
                  <a:pt x="51943" y="20700"/>
                </a:lnTo>
                <a:lnTo>
                  <a:pt x="49022" y="15112"/>
                </a:lnTo>
                <a:lnTo>
                  <a:pt x="44703" y="6730"/>
                </a:lnTo>
                <a:lnTo>
                  <a:pt x="38989" y="2666"/>
                </a:lnTo>
                <a:lnTo>
                  <a:pt x="30479" y="0"/>
                </a:lnTo>
                <a:close/>
              </a:path>
            </a:pathLst>
          </a:custGeom>
          <a:solidFill>
            <a:srgbClr val="D9D9D9"/>
          </a:solidFill>
        </p:spPr>
        <p:txBody>
          <a:bodyPr wrap="square" lIns="0" tIns="0" rIns="0" bIns="0" rtlCol="0"/>
          <a:lstStyle/>
          <a:p>
            <a:endParaRPr/>
          </a:p>
        </p:txBody>
      </p:sp>
      <p:sp>
        <p:nvSpPr>
          <p:cNvPr id="181" name="object 181"/>
          <p:cNvSpPr/>
          <p:nvPr/>
        </p:nvSpPr>
        <p:spPr>
          <a:xfrm>
            <a:off x="8574914" y="2890773"/>
            <a:ext cx="48260" cy="45720"/>
          </a:xfrm>
          <a:custGeom>
            <a:avLst/>
            <a:gdLst/>
            <a:ahLst/>
            <a:cxnLst/>
            <a:rect l="l" t="t" r="r" b="b"/>
            <a:pathLst>
              <a:path w="48259" h="45719">
                <a:moveTo>
                  <a:pt x="33400" y="0"/>
                </a:moveTo>
                <a:lnTo>
                  <a:pt x="19430" y="253"/>
                </a:lnTo>
                <a:lnTo>
                  <a:pt x="9525" y="1777"/>
                </a:lnTo>
                <a:lnTo>
                  <a:pt x="2666" y="8889"/>
                </a:lnTo>
                <a:lnTo>
                  <a:pt x="0" y="17399"/>
                </a:lnTo>
                <a:lnTo>
                  <a:pt x="1523" y="27177"/>
                </a:lnTo>
                <a:lnTo>
                  <a:pt x="1650" y="34289"/>
                </a:lnTo>
                <a:lnTo>
                  <a:pt x="7365" y="38353"/>
                </a:lnTo>
                <a:lnTo>
                  <a:pt x="14477" y="45338"/>
                </a:lnTo>
                <a:lnTo>
                  <a:pt x="28447" y="45085"/>
                </a:lnTo>
                <a:lnTo>
                  <a:pt x="45211" y="36449"/>
                </a:lnTo>
                <a:lnTo>
                  <a:pt x="47878" y="27939"/>
                </a:lnTo>
                <a:lnTo>
                  <a:pt x="46354" y="18161"/>
                </a:lnTo>
                <a:lnTo>
                  <a:pt x="46227" y="11049"/>
                </a:lnTo>
                <a:lnTo>
                  <a:pt x="40639" y="6985"/>
                </a:lnTo>
                <a:lnTo>
                  <a:pt x="33400" y="0"/>
                </a:lnTo>
                <a:close/>
              </a:path>
            </a:pathLst>
          </a:custGeom>
          <a:solidFill>
            <a:srgbClr val="D9D9D9"/>
          </a:solidFill>
        </p:spPr>
        <p:txBody>
          <a:bodyPr wrap="square" lIns="0" tIns="0" rIns="0" bIns="0" rtlCol="0"/>
          <a:lstStyle/>
          <a:p>
            <a:endParaRPr/>
          </a:p>
        </p:txBody>
      </p:sp>
      <p:sp>
        <p:nvSpPr>
          <p:cNvPr id="182" name="object 182"/>
          <p:cNvSpPr/>
          <p:nvPr/>
        </p:nvSpPr>
        <p:spPr>
          <a:xfrm>
            <a:off x="8574914" y="2890773"/>
            <a:ext cx="48260" cy="45720"/>
          </a:xfrm>
          <a:custGeom>
            <a:avLst/>
            <a:gdLst/>
            <a:ahLst/>
            <a:cxnLst/>
            <a:rect l="l" t="t" r="r" b="b"/>
            <a:pathLst>
              <a:path w="48259" h="45719">
                <a:moveTo>
                  <a:pt x="33400" y="0"/>
                </a:moveTo>
                <a:lnTo>
                  <a:pt x="19430" y="253"/>
                </a:lnTo>
                <a:lnTo>
                  <a:pt x="9525" y="1777"/>
                </a:lnTo>
                <a:lnTo>
                  <a:pt x="2666" y="8889"/>
                </a:lnTo>
                <a:lnTo>
                  <a:pt x="0" y="17399"/>
                </a:lnTo>
                <a:lnTo>
                  <a:pt x="1523" y="27177"/>
                </a:lnTo>
                <a:lnTo>
                  <a:pt x="1650" y="34289"/>
                </a:lnTo>
                <a:lnTo>
                  <a:pt x="7365" y="38353"/>
                </a:lnTo>
                <a:lnTo>
                  <a:pt x="14477" y="45338"/>
                </a:lnTo>
                <a:lnTo>
                  <a:pt x="28447" y="45085"/>
                </a:lnTo>
                <a:lnTo>
                  <a:pt x="45211" y="36449"/>
                </a:lnTo>
                <a:lnTo>
                  <a:pt x="47878" y="27939"/>
                </a:lnTo>
                <a:lnTo>
                  <a:pt x="46354" y="18161"/>
                </a:lnTo>
                <a:lnTo>
                  <a:pt x="46227" y="11049"/>
                </a:lnTo>
                <a:lnTo>
                  <a:pt x="40639" y="6985"/>
                </a:lnTo>
                <a:lnTo>
                  <a:pt x="33400" y="0"/>
                </a:lnTo>
                <a:close/>
              </a:path>
            </a:pathLst>
          </a:custGeom>
          <a:solidFill>
            <a:srgbClr val="D9D9D9"/>
          </a:solidFill>
        </p:spPr>
        <p:txBody>
          <a:bodyPr wrap="square" lIns="0" tIns="0" rIns="0" bIns="0" rtlCol="0"/>
          <a:lstStyle/>
          <a:p>
            <a:endParaRPr/>
          </a:p>
        </p:txBody>
      </p:sp>
      <p:sp>
        <p:nvSpPr>
          <p:cNvPr id="183" name="object 183"/>
          <p:cNvSpPr/>
          <p:nvPr/>
        </p:nvSpPr>
        <p:spPr>
          <a:xfrm>
            <a:off x="8647811" y="3065527"/>
            <a:ext cx="42545" cy="42545"/>
          </a:xfrm>
          <a:custGeom>
            <a:avLst/>
            <a:gdLst/>
            <a:ahLst/>
            <a:cxnLst/>
            <a:rect l="l" t="t" r="r" b="b"/>
            <a:pathLst>
              <a:path w="42545" h="42544">
                <a:moveTo>
                  <a:pt x="26416" y="0"/>
                </a:moveTo>
                <a:lnTo>
                  <a:pt x="19431" y="126"/>
                </a:lnTo>
                <a:lnTo>
                  <a:pt x="9525" y="1650"/>
                </a:lnTo>
                <a:lnTo>
                  <a:pt x="2667" y="8762"/>
                </a:lnTo>
                <a:lnTo>
                  <a:pt x="0" y="17272"/>
                </a:lnTo>
                <a:lnTo>
                  <a:pt x="0" y="24257"/>
                </a:lnTo>
                <a:lnTo>
                  <a:pt x="5842" y="35433"/>
                </a:lnTo>
                <a:lnTo>
                  <a:pt x="11557" y="39624"/>
                </a:lnTo>
                <a:lnTo>
                  <a:pt x="19939" y="42290"/>
                </a:lnTo>
                <a:lnTo>
                  <a:pt x="27050" y="42163"/>
                </a:lnTo>
                <a:lnTo>
                  <a:pt x="35433" y="37846"/>
                </a:lnTo>
                <a:lnTo>
                  <a:pt x="39497" y="32131"/>
                </a:lnTo>
                <a:lnTo>
                  <a:pt x="42164" y="23749"/>
                </a:lnTo>
                <a:lnTo>
                  <a:pt x="42037" y="9651"/>
                </a:lnTo>
                <a:lnTo>
                  <a:pt x="36322" y="5461"/>
                </a:lnTo>
                <a:lnTo>
                  <a:pt x="30607" y="1397"/>
                </a:lnTo>
                <a:lnTo>
                  <a:pt x="26416" y="0"/>
                </a:lnTo>
                <a:close/>
              </a:path>
            </a:pathLst>
          </a:custGeom>
          <a:solidFill>
            <a:srgbClr val="D9D9D9"/>
          </a:solidFill>
        </p:spPr>
        <p:txBody>
          <a:bodyPr wrap="square" lIns="0" tIns="0" rIns="0" bIns="0" rtlCol="0"/>
          <a:lstStyle/>
          <a:p>
            <a:endParaRPr/>
          </a:p>
        </p:txBody>
      </p:sp>
      <p:sp>
        <p:nvSpPr>
          <p:cNvPr id="184" name="object 184"/>
          <p:cNvSpPr/>
          <p:nvPr/>
        </p:nvSpPr>
        <p:spPr>
          <a:xfrm>
            <a:off x="8647811" y="3065527"/>
            <a:ext cx="42545" cy="42545"/>
          </a:xfrm>
          <a:custGeom>
            <a:avLst/>
            <a:gdLst/>
            <a:ahLst/>
            <a:cxnLst/>
            <a:rect l="l" t="t" r="r" b="b"/>
            <a:pathLst>
              <a:path w="42545" h="42544">
                <a:moveTo>
                  <a:pt x="26416" y="0"/>
                </a:moveTo>
                <a:lnTo>
                  <a:pt x="19431" y="126"/>
                </a:lnTo>
                <a:lnTo>
                  <a:pt x="9525" y="1650"/>
                </a:lnTo>
                <a:lnTo>
                  <a:pt x="2667" y="8762"/>
                </a:lnTo>
                <a:lnTo>
                  <a:pt x="0" y="17272"/>
                </a:lnTo>
                <a:lnTo>
                  <a:pt x="0" y="24257"/>
                </a:lnTo>
                <a:lnTo>
                  <a:pt x="5842" y="35433"/>
                </a:lnTo>
                <a:lnTo>
                  <a:pt x="11557" y="39624"/>
                </a:lnTo>
                <a:lnTo>
                  <a:pt x="19939" y="42290"/>
                </a:lnTo>
                <a:lnTo>
                  <a:pt x="27050" y="42163"/>
                </a:lnTo>
                <a:lnTo>
                  <a:pt x="35433" y="37846"/>
                </a:lnTo>
                <a:lnTo>
                  <a:pt x="39497" y="32131"/>
                </a:lnTo>
                <a:lnTo>
                  <a:pt x="42164" y="23749"/>
                </a:lnTo>
                <a:lnTo>
                  <a:pt x="42037" y="9651"/>
                </a:lnTo>
                <a:lnTo>
                  <a:pt x="36322" y="5461"/>
                </a:lnTo>
                <a:lnTo>
                  <a:pt x="30607" y="1397"/>
                </a:lnTo>
                <a:lnTo>
                  <a:pt x="26416" y="0"/>
                </a:lnTo>
                <a:close/>
              </a:path>
            </a:pathLst>
          </a:custGeom>
          <a:solidFill>
            <a:srgbClr val="D9D9D9"/>
          </a:solidFill>
        </p:spPr>
        <p:txBody>
          <a:bodyPr wrap="square" lIns="0" tIns="0" rIns="0" bIns="0" rtlCol="0"/>
          <a:lstStyle/>
          <a:p>
            <a:endParaRPr/>
          </a:p>
        </p:txBody>
      </p:sp>
      <p:sp>
        <p:nvSpPr>
          <p:cNvPr id="185" name="object 185"/>
          <p:cNvSpPr/>
          <p:nvPr/>
        </p:nvSpPr>
        <p:spPr>
          <a:xfrm>
            <a:off x="8691371" y="3247771"/>
            <a:ext cx="36830" cy="41275"/>
          </a:xfrm>
          <a:custGeom>
            <a:avLst/>
            <a:gdLst/>
            <a:ahLst/>
            <a:cxnLst/>
            <a:rect l="l" t="t" r="r" b="b"/>
            <a:pathLst>
              <a:path w="36829" h="41275">
                <a:moveTo>
                  <a:pt x="20700" y="0"/>
                </a:moveTo>
                <a:lnTo>
                  <a:pt x="15112" y="2920"/>
                </a:lnTo>
                <a:lnTo>
                  <a:pt x="8127" y="2920"/>
                </a:lnTo>
                <a:lnTo>
                  <a:pt x="1143" y="10032"/>
                </a:lnTo>
                <a:lnTo>
                  <a:pt x="1397" y="24129"/>
                </a:lnTo>
                <a:lnTo>
                  <a:pt x="0" y="28448"/>
                </a:lnTo>
                <a:lnTo>
                  <a:pt x="5714" y="32512"/>
                </a:lnTo>
                <a:lnTo>
                  <a:pt x="17018" y="40766"/>
                </a:lnTo>
                <a:lnTo>
                  <a:pt x="22605" y="37845"/>
                </a:lnTo>
                <a:lnTo>
                  <a:pt x="29718" y="37845"/>
                </a:lnTo>
                <a:lnTo>
                  <a:pt x="36575" y="30606"/>
                </a:lnTo>
                <a:lnTo>
                  <a:pt x="36322" y="9525"/>
                </a:lnTo>
                <a:lnTo>
                  <a:pt x="32003" y="8254"/>
                </a:lnTo>
                <a:lnTo>
                  <a:pt x="26416" y="4063"/>
                </a:lnTo>
                <a:lnTo>
                  <a:pt x="20700" y="0"/>
                </a:lnTo>
                <a:close/>
              </a:path>
            </a:pathLst>
          </a:custGeom>
          <a:solidFill>
            <a:srgbClr val="D9D9D9"/>
          </a:solidFill>
        </p:spPr>
        <p:txBody>
          <a:bodyPr wrap="square" lIns="0" tIns="0" rIns="0" bIns="0" rtlCol="0"/>
          <a:lstStyle/>
          <a:p>
            <a:endParaRPr/>
          </a:p>
        </p:txBody>
      </p:sp>
      <p:sp>
        <p:nvSpPr>
          <p:cNvPr id="186" name="object 186"/>
          <p:cNvSpPr/>
          <p:nvPr/>
        </p:nvSpPr>
        <p:spPr>
          <a:xfrm>
            <a:off x="8691371" y="3247771"/>
            <a:ext cx="36830" cy="41275"/>
          </a:xfrm>
          <a:custGeom>
            <a:avLst/>
            <a:gdLst/>
            <a:ahLst/>
            <a:cxnLst/>
            <a:rect l="l" t="t" r="r" b="b"/>
            <a:pathLst>
              <a:path w="36829" h="41275">
                <a:moveTo>
                  <a:pt x="20700" y="0"/>
                </a:moveTo>
                <a:lnTo>
                  <a:pt x="15112" y="2920"/>
                </a:lnTo>
                <a:lnTo>
                  <a:pt x="8127" y="2920"/>
                </a:lnTo>
                <a:lnTo>
                  <a:pt x="1143" y="10032"/>
                </a:lnTo>
                <a:lnTo>
                  <a:pt x="1397" y="24129"/>
                </a:lnTo>
                <a:lnTo>
                  <a:pt x="0" y="28448"/>
                </a:lnTo>
                <a:lnTo>
                  <a:pt x="5714" y="32512"/>
                </a:lnTo>
                <a:lnTo>
                  <a:pt x="17018" y="40766"/>
                </a:lnTo>
                <a:lnTo>
                  <a:pt x="22605" y="37845"/>
                </a:lnTo>
                <a:lnTo>
                  <a:pt x="29718" y="37845"/>
                </a:lnTo>
                <a:lnTo>
                  <a:pt x="36575" y="30606"/>
                </a:lnTo>
                <a:lnTo>
                  <a:pt x="36322" y="9525"/>
                </a:lnTo>
                <a:lnTo>
                  <a:pt x="32003" y="8254"/>
                </a:lnTo>
                <a:lnTo>
                  <a:pt x="26416" y="4063"/>
                </a:lnTo>
                <a:lnTo>
                  <a:pt x="20700" y="0"/>
                </a:lnTo>
                <a:close/>
              </a:path>
            </a:pathLst>
          </a:custGeom>
          <a:solidFill>
            <a:srgbClr val="D9D9D9"/>
          </a:solidFill>
        </p:spPr>
        <p:txBody>
          <a:bodyPr wrap="square" lIns="0" tIns="0" rIns="0" bIns="0" rtlCol="0"/>
          <a:lstStyle/>
          <a:p>
            <a:endParaRPr/>
          </a:p>
        </p:txBody>
      </p:sp>
      <p:sp>
        <p:nvSpPr>
          <p:cNvPr id="187" name="object 187"/>
          <p:cNvSpPr/>
          <p:nvPr/>
        </p:nvSpPr>
        <p:spPr>
          <a:xfrm>
            <a:off x="7276591" y="2335022"/>
            <a:ext cx="102870" cy="99695"/>
          </a:xfrm>
          <a:custGeom>
            <a:avLst/>
            <a:gdLst/>
            <a:ahLst/>
            <a:cxnLst/>
            <a:rect l="l" t="t" r="r" b="b"/>
            <a:pathLst>
              <a:path w="102870" h="99694">
                <a:moveTo>
                  <a:pt x="41528" y="0"/>
                </a:moveTo>
                <a:lnTo>
                  <a:pt x="21971" y="10160"/>
                </a:lnTo>
                <a:lnTo>
                  <a:pt x="10922" y="22987"/>
                </a:lnTo>
                <a:lnTo>
                  <a:pt x="2793" y="41275"/>
                </a:lnTo>
                <a:lnTo>
                  <a:pt x="0" y="49783"/>
                </a:lnTo>
                <a:lnTo>
                  <a:pt x="1650" y="59689"/>
                </a:lnTo>
                <a:lnTo>
                  <a:pt x="8889" y="73532"/>
                </a:lnTo>
                <a:lnTo>
                  <a:pt x="18923" y="86105"/>
                </a:lnTo>
                <a:lnTo>
                  <a:pt x="30225" y="94361"/>
                </a:lnTo>
                <a:lnTo>
                  <a:pt x="47243" y="99694"/>
                </a:lnTo>
                <a:lnTo>
                  <a:pt x="61213" y="99567"/>
                </a:lnTo>
                <a:lnTo>
                  <a:pt x="80772" y="89407"/>
                </a:lnTo>
                <a:lnTo>
                  <a:pt x="91821" y="76580"/>
                </a:lnTo>
                <a:lnTo>
                  <a:pt x="99949" y="58165"/>
                </a:lnTo>
                <a:lnTo>
                  <a:pt x="102615" y="49656"/>
                </a:lnTo>
                <a:lnTo>
                  <a:pt x="101091" y="39877"/>
                </a:lnTo>
                <a:lnTo>
                  <a:pt x="95376" y="28701"/>
                </a:lnTo>
                <a:lnTo>
                  <a:pt x="88137" y="14731"/>
                </a:lnTo>
                <a:lnTo>
                  <a:pt x="72516" y="5206"/>
                </a:lnTo>
                <a:lnTo>
                  <a:pt x="41528" y="0"/>
                </a:lnTo>
                <a:close/>
              </a:path>
            </a:pathLst>
          </a:custGeom>
          <a:solidFill>
            <a:srgbClr val="D9D9D9"/>
          </a:solidFill>
        </p:spPr>
        <p:txBody>
          <a:bodyPr wrap="square" lIns="0" tIns="0" rIns="0" bIns="0" rtlCol="0"/>
          <a:lstStyle/>
          <a:p>
            <a:endParaRPr/>
          </a:p>
        </p:txBody>
      </p:sp>
      <p:sp>
        <p:nvSpPr>
          <p:cNvPr id="188" name="object 188"/>
          <p:cNvSpPr/>
          <p:nvPr/>
        </p:nvSpPr>
        <p:spPr>
          <a:xfrm>
            <a:off x="7276591" y="2335022"/>
            <a:ext cx="102870" cy="99695"/>
          </a:xfrm>
          <a:custGeom>
            <a:avLst/>
            <a:gdLst/>
            <a:ahLst/>
            <a:cxnLst/>
            <a:rect l="l" t="t" r="r" b="b"/>
            <a:pathLst>
              <a:path w="102870" h="99694">
                <a:moveTo>
                  <a:pt x="41528" y="0"/>
                </a:moveTo>
                <a:lnTo>
                  <a:pt x="21971" y="10160"/>
                </a:lnTo>
                <a:lnTo>
                  <a:pt x="10922" y="22987"/>
                </a:lnTo>
                <a:lnTo>
                  <a:pt x="2793" y="41275"/>
                </a:lnTo>
                <a:lnTo>
                  <a:pt x="0" y="49783"/>
                </a:lnTo>
                <a:lnTo>
                  <a:pt x="1650" y="59689"/>
                </a:lnTo>
                <a:lnTo>
                  <a:pt x="8889" y="73532"/>
                </a:lnTo>
                <a:lnTo>
                  <a:pt x="18923" y="86105"/>
                </a:lnTo>
                <a:lnTo>
                  <a:pt x="30225" y="94361"/>
                </a:lnTo>
                <a:lnTo>
                  <a:pt x="47243" y="99694"/>
                </a:lnTo>
                <a:lnTo>
                  <a:pt x="61213" y="99567"/>
                </a:lnTo>
                <a:lnTo>
                  <a:pt x="80772" y="89407"/>
                </a:lnTo>
                <a:lnTo>
                  <a:pt x="91821" y="76580"/>
                </a:lnTo>
                <a:lnTo>
                  <a:pt x="99949" y="58165"/>
                </a:lnTo>
                <a:lnTo>
                  <a:pt x="102615" y="49656"/>
                </a:lnTo>
                <a:lnTo>
                  <a:pt x="101091" y="39877"/>
                </a:lnTo>
                <a:lnTo>
                  <a:pt x="95376" y="28701"/>
                </a:lnTo>
                <a:lnTo>
                  <a:pt x="88137" y="14731"/>
                </a:lnTo>
                <a:lnTo>
                  <a:pt x="72516" y="5206"/>
                </a:lnTo>
                <a:lnTo>
                  <a:pt x="41528" y="0"/>
                </a:lnTo>
                <a:close/>
              </a:path>
            </a:pathLst>
          </a:custGeom>
          <a:solidFill>
            <a:srgbClr val="D9D9D9"/>
          </a:solidFill>
        </p:spPr>
        <p:txBody>
          <a:bodyPr wrap="square" lIns="0" tIns="0" rIns="0" bIns="0" rtlCol="0"/>
          <a:lstStyle/>
          <a:p>
            <a:endParaRPr/>
          </a:p>
        </p:txBody>
      </p:sp>
      <p:sp>
        <p:nvSpPr>
          <p:cNvPr id="189" name="object 189"/>
          <p:cNvSpPr/>
          <p:nvPr/>
        </p:nvSpPr>
        <p:spPr>
          <a:xfrm>
            <a:off x="6775069" y="2413255"/>
            <a:ext cx="1344929" cy="1680337"/>
          </a:xfrm>
          <a:prstGeom prst="rect">
            <a:avLst/>
          </a:prstGeom>
          <a:blipFill>
            <a:blip r:embed="rId6" cstate="print"/>
            <a:stretch>
              <a:fillRect/>
            </a:stretch>
          </a:blipFill>
        </p:spPr>
        <p:txBody>
          <a:bodyPr wrap="square" lIns="0" tIns="0" rIns="0" bIns="0" rtlCol="0"/>
          <a:lstStyle/>
          <a:p>
            <a:endParaRPr/>
          </a:p>
        </p:txBody>
      </p:sp>
      <p:sp>
        <p:nvSpPr>
          <p:cNvPr id="190" name="object 190"/>
          <p:cNvSpPr/>
          <p:nvPr/>
        </p:nvSpPr>
        <p:spPr>
          <a:xfrm>
            <a:off x="6713981" y="2796033"/>
            <a:ext cx="64769" cy="67945"/>
          </a:xfrm>
          <a:custGeom>
            <a:avLst/>
            <a:gdLst/>
            <a:ahLst/>
            <a:cxnLst/>
            <a:rect l="l" t="t" r="r" b="b"/>
            <a:pathLst>
              <a:path w="64770" h="67944">
                <a:moveTo>
                  <a:pt x="35941" y="0"/>
                </a:moveTo>
                <a:lnTo>
                  <a:pt x="1270" y="28701"/>
                </a:lnTo>
                <a:lnTo>
                  <a:pt x="0" y="40004"/>
                </a:lnTo>
                <a:lnTo>
                  <a:pt x="4445" y="48387"/>
                </a:lnTo>
                <a:lnTo>
                  <a:pt x="8763" y="56641"/>
                </a:lnTo>
                <a:lnTo>
                  <a:pt x="18669" y="62229"/>
                </a:lnTo>
                <a:lnTo>
                  <a:pt x="28575" y="67690"/>
                </a:lnTo>
                <a:lnTo>
                  <a:pt x="38353" y="66039"/>
                </a:lnTo>
                <a:lnTo>
                  <a:pt x="52324" y="58800"/>
                </a:lnTo>
                <a:lnTo>
                  <a:pt x="59309" y="51688"/>
                </a:lnTo>
                <a:lnTo>
                  <a:pt x="63246" y="38988"/>
                </a:lnTo>
                <a:lnTo>
                  <a:pt x="64516" y="27812"/>
                </a:lnTo>
                <a:lnTo>
                  <a:pt x="55879" y="11048"/>
                </a:lnTo>
                <a:lnTo>
                  <a:pt x="35941" y="0"/>
                </a:lnTo>
                <a:close/>
              </a:path>
            </a:pathLst>
          </a:custGeom>
          <a:solidFill>
            <a:srgbClr val="D9D9D9"/>
          </a:solidFill>
        </p:spPr>
        <p:txBody>
          <a:bodyPr wrap="square" lIns="0" tIns="0" rIns="0" bIns="0" rtlCol="0"/>
          <a:lstStyle/>
          <a:p>
            <a:endParaRPr/>
          </a:p>
        </p:txBody>
      </p:sp>
      <p:sp>
        <p:nvSpPr>
          <p:cNvPr id="191" name="object 191"/>
          <p:cNvSpPr/>
          <p:nvPr/>
        </p:nvSpPr>
        <p:spPr>
          <a:xfrm>
            <a:off x="6713981" y="2796033"/>
            <a:ext cx="64769" cy="67945"/>
          </a:xfrm>
          <a:custGeom>
            <a:avLst/>
            <a:gdLst/>
            <a:ahLst/>
            <a:cxnLst/>
            <a:rect l="l" t="t" r="r" b="b"/>
            <a:pathLst>
              <a:path w="64770" h="67944">
                <a:moveTo>
                  <a:pt x="35941" y="0"/>
                </a:moveTo>
                <a:lnTo>
                  <a:pt x="1270" y="28701"/>
                </a:lnTo>
                <a:lnTo>
                  <a:pt x="0" y="40004"/>
                </a:lnTo>
                <a:lnTo>
                  <a:pt x="4445" y="48387"/>
                </a:lnTo>
                <a:lnTo>
                  <a:pt x="8763" y="56641"/>
                </a:lnTo>
                <a:lnTo>
                  <a:pt x="18669" y="62229"/>
                </a:lnTo>
                <a:lnTo>
                  <a:pt x="28575" y="67690"/>
                </a:lnTo>
                <a:lnTo>
                  <a:pt x="38353" y="66039"/>
                </a:lnTo>
                <a:lnTo>
                  <a:pt x="52324" y="58800"/>
                </a:lnTo>
                <a:lnTo>
                  <a:pt x="59309" y="51688"/>
                </a:lnTo>
                <a:lnTo>
                  <a:pt x="63246" y="38988"/>
                </a:lnTo>
                <a:lnTo>
                  <a:pt x="64516" y="27812"/>
                </a:lnTo>
                <a:lnTo>
                  <a:pt x="55879" y="11048"/>
                </a:lnTo>
                <a:lnTo>
                  <a:pt x="35941" y="0"/>
                </a:lnTo>
                <a:close/>
              </a:path>
            </a:pathLst>
          </a:custGeom>
          <a:solidFill>
            <a:srgbClr val="D9D9D9"/>
          </a:solidFill>
        </p:spPr>
        <p:txBody>
          <a:bodyPr wrap="square" lIns="0" tIns="0" rIns="0" bIns="0" rtlCol="0"/>
          <a:lstStyle/>
          <a:p>
            <a:endParaRPr/>
          </a:p>
        </p:txBody>
      </p:sp>
      <p:sp>
        <p:nvSpPr>
          <p:cNvPr id="192" name="object 192"/>
          <p:cNvSpPr/>
          <p:nvPr/>
        </p:nvSpPr>
        <p:spPr>
          <a:xfrm>
            <a:off x="6630544" y="2964688"/>
            <a:ext cx="60960" cy="60960"/>
          </a:xfrm>
          <a:custGeom>
            <a:avLst/>
            <a:gdLst/>
            <a:ahLst/>
            <a:cxnLst/>
            <a:rect l="l" t="t" r="r" b="b"/>
            <a:pathLst>
              <a:path w="60959" h="60960">
                <a:moveTo>
                  <a:pt x="33400" y="0"/>
                </a:moveTo>
                <a:lnTo>
                  <a:pt x="23622" y="1524"/>
                </a:lnTo>
                <a:lnTo>
                  <a:pt x="12446" y="7365"/>
                </a:lnTo>
                <a:lnTo>
                  <a:pt x="5460" y="14477"/>
                </a:lnTo>
                <a:lnTo>
                  <a:pt x="0" y="24384"/>
                </a:lnTo>
                <a:lnTo>
                  <a:pt x="253" y="38353"/>
                </a:lnTo>
                <a:lnTo>
                  <a:pt x="3048" y="43941"/>
                </a:lnTo>
                <a:lnTo>
                  <a:pt x="17399" y="57785"/>
                </a:lnTo>
                <a:lnTo>
                  <a:pt x="25780" y="60578"/>
                </a:lnTo>
                <a:lnTo>
                  <a:pt x="35686" y="58927"/>
                </a:lnTo>
                <a:lnTo>
                  <a:pt x="46862" y="53212"/>
                </a:lnTo>
                <a:lnTo>
                  <a:pt x="53721" y="46100"/>
                </a:lnTo>
                <a:lnTo>
                  <a:pt x="59181" y="36195"/>
                </a:lnTo>
                <a:lnTo>
                  <a:pt x="60451" y="24891"/>
                </a:lnTo>
                <a:lnTo>
                  <a:pt x="56133" y="16510"/>
                </a:lnTo>
                <a:lnTo>
                  <a:pt x="49022" y="9525"/>
                </a:lnTo>
                <a:lnTo>
                  <a:pt x="41909" y="2666"/>
                </a:lnTo>
                <a:lnTo>
                  <a:pt x="33400" y="0"/>
                </a:lnTo>
                <a:close/>
              </a:path>
            </a:pathLst>
          </a:custGeom>
          <a:solidFill>
            <a:srgbClr val="D9D9D9"/>
          </a:solidFill>
        </p:spPr>
        <p:txBody>
          <a:bodyPr wrap="square" lIns="0" tIns="0" rIns="0" bIns="0" rtlCol="0"/>
          <a:lstStyle/>
          <a:p>
            <a:endParaRPr/>
          </a:p>
        </p:txBody>
      </p:sp>
      <p:sp>
        <p:nvSpPr>
          <p:cNvPr id="193" name="object 193"/>
          <p:cNvSpPr/>
          <p:nvPr/>
        </p:nvSpPr>
        <p:spPr>
          <a:xfrm>
            <a:off x="6630544" y="2964688"/>
            <a:ext cx="60960" cy="60960"/>
          </a:xfrm>
          <a:custGeom>
            <a:avLst/>
            <a:gdLst/>
            <a:ahLst/>
            <a:cxnLst/>
            <a:rect l="l" t="t" r="r" b="b"/>
            <a:pathLst>
              <a:path w="60959" h="60960">
                <a:moveTo>
                  <a:pt x="33400" y="0"/>
                </a:moveTo>
                <a:lnTo>
                  <a:pt x="23622" y="1524"/>
                </a:lnTo>
                <a:lnTo>
                  <a:pt x="12446" y="7365"/>
                </a:lnTo>
                <a:lnTo>
                  <a:pt x="5460" y="14477"/>
                </a:lnTo>
                <a:lnTo>
                  <a:pt x="0" y="24384"/>
                </a:lnTo>
                <a:lnTo>
                  <a:pt x="253" y="38353"/>
                </a:lnTo>
                <a:lnTo>
                  <a:pt x="3048" y="43941"/>
                </a:lnTo>
                <a:lnTo>
                  <a:pt x="17399" y="57785"/>
                </a:lnTo>
                <a:lnTo>
                  <a:pt x="25780" y="60578"/>
                </a:lnTo>
                <a:lnTo>
                  <a:pt x="35686" y="58927"/>
                </a:lnTo>
                <a:lnTo>
                  <a:pt x="46862" y="53212"/>
                </a:lnTo>
                <a:lnTo>
                  <a:pt x="53721" y="46100"/>
                </a:lnTo>
                <a:lnTo>
                  <a:pt x="59181" y="36195"/>
                </a:lnTo>
                <a:lnTo>
                  <a:pt x="60451" y="24891"/>
                </a:lnTo>
                <a:lnTo>
                  <a:pt x="56133" y="16510"/>
                </a:lnTo>
                <a:lnTo>
                  <a:pt x="49022" y="9525"/>
                </a:lnTo>
                <a:lnTo>
                  <a:pt x="41909" y="2666"/>
                </a:lnTo>
                <a:lnTo>
                  <a:pt x="33400" y="0"/>
                </a:lnTo>
                <a:close/>
              </a:path>
            </a:pathLst>
          </a:custGeom>
          <a:solidFill>
            <a:srgbClr val="D9D9D9"/>
          </a:solidFill>
        </p:spPr>
        <p:txBody>
          <a:bodyPr wrap="square" lIns="0" tIns="0" rIns="0" bIns="0" rtlCol="0"/>
          <a:lstStyle/>
          <a:p>
            <a:endParaRPr/>
          </a:p>
        </p:txBody>
      </p:sp>
      <p:sp>
        <p:nvSpPr>
          <p:cNvPr id="194" name="object 194"/>
          <p:cNvSpPr/>
          <p:nvPr/>
        </p:nvSpPr>
        <p:spPr>
          <a:xfrm>
            <a:off x="6577203" y="3146806"/>
            <a:ext cx="53340" cy="52069"/>
          </a:xfrm>
          <a:custGeom>
            <a:avLst/>
            <a:gdLst/>
            <a:ahLst/>
            <a:cxnLst/>
            <a:rect l="l" t="t" r="r" b="b"/>
            <a:pathLst>
              <a:path w="53340" h="52069">
                <a:moveTo>
                  <a:pt x="28955" y="0"/>
                </a:moveTo>
                <a:lnTo>
                  <a:pt x="0" y="32766"/>
                </a:lnTo>
                <a:lnTo>
                  <a:pt x="2794" y="38354"/>
                </a:lnTo>
                <a:lnTo>
                  <a:pt x="9905" y="45339"/>
                </a:lnTo>
                <a:lnTo>
                  <a:pt x="15621" y="49403"/>
                </a:lnTo>
                <a:lnTo>
                  <a:pt x="24129" y="52070"/>
                </a:lnTo>
                <a:lnTo>
                  <a:pt x="31115" y="52070"/>
                </a:lnTo>
                <a:lnTo>
                  <a:pt x="42291" y="46228"/>
                </a:lnTo>
                <a:lnTo>
                  <a:pt x="49275" y="39116"/>
                </a:lnTo>
                <a:lnTo>
                  <a:pt x="51943" y="30607"/>
                </a:lnTo>
                <a:lnTo>
                  <a:pt x="53213" y="19304"/>
                </a:lnTo>
                <a:lnTo>
                  <a:pt x="50292" y="13843"/>
                </a:lnTo>
                <a:lnTo>
                  <a:pt x="43179" y="6858"/>
                </a:lnTo>
                <a:lnTo>
                  <a:pt x="37465" y="2667"/>
                </a:lnTo>
                <a:lnTo>
                  <a:pt x="28955" y="0"/>
                </a:lnTo>
                <a:close/>
              </a:path>
            </a:pathLst>
          </a:custGeom>
          <a:solidFill>
            <a:srgbClr val="D9D9D9"/>
          </a:solidFill>
        </p:spPr>
        <p:txBody>
          <a:bodyPr wrap="square" lIns="0" tIns="0" rIns="0" bIns="0" rtlCol="0"/>
          <a:lstStyle/>
          <a:p>
            <a:endParaRPr/>
          </a:p>
        </p:txBody>
      </p:sp>
      <p:sp>
        <p:nvSpPr>
          <p:cNvPr id="195" name="object 195"/>
          <p:cNvSpPr/>
          <p:nvPr/>
        </p:nvSpPr>
        <p:spPr>
          <a:xfrm>
            <a:off x="6577203" y="3146806"/>
            <a:ext cx="53340" cy="52069"/>
          </a:xfrm>
          <a:custGeom>
            <a:avLst/>
            <a:gdLst/>
            <a:ahLst/>
            <a:cxnLst/>
            <a:rect l="l" t="t" r="r" b="b"/>
            <a:pathLst>
              <a:path w="53340" h="52069">
                <a:moveTo>
                  <a:pt x="28955" y="0"/>
                </a:moveTo>
                <a:lnTo>
                  <a:pt x="0" y="32766"/>
                </a:lnTo>
                <a:lnTo>
                  <a:pt x="2794" y="38354"/>
                </a:lnTo>
                <a:lnTo>
                  <a:pt x="9905" y="45339"/>
                </a:lnTo>
                <a:lnTo>
                  <a:pt x="15621" y="49403"/>
                </a:lnTo>
                <a:lnTo>
                  <a:pt x="24129" y="52070"/>
                </a:lnTo>
                <a:lnTo>
                  <a:pt x="31115" y="52070"/>
                </a:lnTo>
                <a:lnTo>
                  <a:pt x="42291" y="46228"/>
                </a:lnTo>
                <a:lnTo>
                  <a:pt x="49275" y="39116"/>
                </a:lnTo>
                <a:lnTo>
                  <a:pt x="51943" y="30607"/>
                </a:lnTo>
                <a:lnTo>
                  <a:pt x="53213" y="19304"/>
                </a:lnTo>
                <a:lnTo>
                  <a:pt x="50292" y="13843"/>
                </a:lnTo>
                <a:lnTo>
                  <a:pt x="43179" y="6858"/>
                </a:lnTo>
                <a:lnTo>
                  <a:pt x="37465" y="2667"/>
                </a:lnTo>
                <a:lnTo>
                  <a:pt x="28955" y="0"/>
                </a:lnTo>
                <a:close/>
              </a:path>
            </a:pathLst>
          </a:custGeom>
          <a:solidFill>
            <a:srgbClr val="D9D9D9"/>
          </a:solidFill>
        </p:spPr>
        <p:txBody>
          <a:bodyPr wrap="square" lIns="0" tIns="0" rIns="0" bIns="0" rtlCol="0"/>
          <a:lstStyle/>
          <a:p>
            <a:endParaRPr/>
          </a:p>
        </p:txBody>
      </p:sp>
      <p:sp>
        <p:nvSpPr>
          <p:cNvPr id="196" name="object 196"/>
          <p:cNvSpPr/>
          <p:nvPr/>
        </p:nvSpPr>
        <p:spPr>
          <a:xfrm>
            <a:off x="6554469" y="3332734"/>
            <a:ext cx="49530" cy="49530"/>
          </a:xfrm>
          <a:custGeom>
            <a:avLst/>
            <a:gdLst/>
            <a:ahLst/>
            <a:cxnLst/>
            <a:rect l="l" t="t" r="r" b="b"/>
            <a:pathLst>
              <a:path w="49529" h="49529">
                <a:moveTo>
                  <a:pt x="27812" y="0"/>
                </a:moveTo>
                <a:lnTo>
                  <a:pt x="17906" y="1524"/>
                </a:lnTo>
                <a:lnTo>
                  <a:pt x="9525" y="5968"/>
                </a:lnTo>
                <a:lnTo>
                  <a:pt x="5460" y="11556"/>
                </a:lnTo>
                <a:lnTo>
                  <a:pt x="0" y="21589"/>
                </a:lnTo>
                <a:lnTo>
                  <a:pt x="1524" y="31368"/>
                </a:lnTo>
                <a:lnTo>
                  <a:pt x="4445" y="36956"/>
                </a:lnTo>
                <a:lnTo>
                  <a:pt x="7238" y="42544"/>
                </a:lnTo>
                <a:lnTo>
                  <a:pt x="12953" y="46608"/>
                </a:lnTo>
                <a:lnTo>
                  <a:pt x="21462" y="49275"/>
                </a:lnTo>
                <a:lnTo>
                  <a:pt x="28448" y="49275"/>
                </a:lnTo>
                <a:lnTo>
                  <a:pt x="39624" y="43433"/>
                </a:lnTo>
                <a:lnTo>
                  <a:pt x="43814" y="37718"/>
                </a:lnTo>
                <a:lnTo>
                  <a:pt x="46481" y="29210"/>
                </a:lnTo>
                <a:lnTo>
                  <a:pt x="49149" y="20827"/>
                </a:lnTo>
                <a:lnTo>
                  <a:pt x="46227" y="15239"/>
                </a:lnTo>
                <a:lnTo>
                  <a:pt x="41909" y="6857"/>
                </a:lnTo>
                <a:lnTo>
                  <a:pt x="33400" y="4190"/>
                </a:lnTo>
                <a:lnTo>
                  <a:pt x="27812" y="0"/>
                </a:lnTo>
                <a:close/>
              </a:path>
            </a:pathLst>
          </a:custGeom>
          <a:solidFill>
            <a:srgbClr val="D9D9D9"/>
          </a:solidFill>
        </p:spPr>
        <p:txBody>
          <a:bodyPr wrap="square" lIns="0" tIns="0" rIns="0" bIns="0" rtlCol="0"/>
          <a:lstStyle/>
          <a:p>
            <a:endParaRPr/>
          </a:p>
        </p:txBody>
      </p:sp>
      <p:sp>
        <p:nvSpPr>
          <p:cNvPr id="197" name="object 197"/>
          <p:cNvSpPr/>
          <p:nvPr/>
        </p:nvSpPr>
        <p:spPr>
          <a:xfrm>
            <a:off x="6554469" y="3332734"/>
            <a:ext cx="49530" cy="49530"/>
          </a:xfrm>
          <a:custGeom>
            <a:avLst/>
            <a:gdLst/>
            <a:ahLst/>
            <a:cxnLst/>
            <a:rect l="l" t="t" r="r" b="b"/>
            <a:pathLst>
              <a:path w="49529" h="49529">
                <a:moveTo>
                  <a:pt x="27812" y="0"/>
                </a:moveTo>
                <a:lnTo>
                  <a:pt x="17906" y="1524"/>
                </a:lnTo>
                <a:lnTo>
                  <a:pt x="9525" y="5968"/>
                </a:lnTo>
                <a:lnTo>
                  <a:pt x="5460" y="11556"/>
                </a:lnTo>
                <a:lnTo>
                  <a:pt x="0" y="21589"/>
                </a:lnTo>
                <a:lnTo>
                  <a:pt x="1524" y="31368"/>
                </a:lnTo>
                <a:lnTo>
                  <a:pt x="4445" y="36956"/>
                </a:lnTo>
                <a:lnTo>
                  <a:pt x="7238" y="42544"/>
                </a:lnTo>
                <a:lnTo>
                  <a:pt x="12953" y="46608"/>
                </a:lnTo>
                <a:lnTo>
                  <a:pt x="21462" y="49275"/>
                </a:lnTo>
                <a:lnTo>
                  <a:pt x="28448" y="49275"/>
                </a:lnTo>
                <a:lnTo>
                  <a:pt x="39624" y="43433"/>
                </a:lnTo>
                <a:lnTo>
                  <a:pt x="43814" y="37718"/>
                </a:lnTo>
                <a:lnTo>
                  <a:pt x="46481" y="29210"/>
                </a:lnTo>
                <a:lnTo>
                  <a:pt x="49149" y="20827"/>
                </a:lnTo>
                <a:lnTo>
                  <a:pt x="46227" y="15239"/>
                </a:lnTo>
                <a:lnTo>
                  <a:pt x="41909" y="6857"/>
                </a:lnTo>
                <a:lnTo>
                  <a:pt x="33400" y="4190"/>
                </a:lnTo>
                <a:lnTo>
                  <a:pt x="27812" y="0"/>
                </a:lnTo>
                <a:close/>
              </a:path>
            </a:pathLst>
          </a:custGeom>
          <a:solidFill>
            <a:srgbClr val="D9D9D9"/>
          </a:solidFill>
        </p:spPr>
        <p:txBody>
          <a:bodyPr wrap="square" lIns="0" tIns="0" rIns="0" bIns="0" rtlCol="0"/>
          <a:lstStyle/>
          <a:p>
            <a:endParaRPr/>
          </a:p>
        </p:txBody>
      </p:sp>
      <p:sp>
        <p:nvSpPr>
          <p:cNvPr id="198" name="object 198"/>
          <p:cNvSpPr/>
          <p:nvPr/>
        </p:nvSpPr>
        <p:spPr>
          <a:xfrm>
            <a:off x="6565647" y="3523742"/>
            <a:ext cx="43814" cy="41275"/>
          </a:xfrm>
          <a:custGeom>
            <a:avLst/>
            <a:gdLst/>
            <a:ahLst/>
            <a:cxnLst/>
            <a:rect l="l" t="t" r="r" b="b"/>
            <a:pathLst>
              <a:path w="43815" h="41275">
                <a:moveTo>
                  <a:pt x="30606" y="0"/>
                </a:moveTo>
                <a:lnTo>
                  <a:pt x="16636" y="254"/>
                </a:lnTo>
                <a:lnTo>
                  <a:pt x="8254" y="4572"/>
                </a:lnTo>
                <a:lnTo>
                  <a:pt x="4063" y="10287"/>
                </a:lnTo>
                <a:lnTo>
                  <a:pt x="0" y="15875"/>
                </a:lnTo>
                <a:lnTo>
                  <a:pt x="1524" y="25781"/>
                </a:lnTo>
                <a:lnTo>
                  <a:pt x="4445" y="31369"/>
                </a:lnTo>
                <a:lnTo>
                  <a:pt x="7365" y="36830"/>
                </a:lnTo>
                <a:lnTo>
                  <a:pt x="12953" y="41021"/>
                </a:lnTo>
                <a:lnTo>
                  <a:pt x="27050" y="40767"/>
                </a:lnTo>
                <a:lnTo>
                  <a:pt x="32638" y="37973"/>
                </a:lnTo>
                <a:lnTo>
                  <a:pt x="39497" y="30734"/>
                </a:lnTo>
                <a:lnTo>
                  <a:pt x="43687" y="25146"/>
                </a:lnTo>
                <a:lnTo>
                  <a:pt x="42163" y="15240"/>
                </a:lnTo>
                <a:lnTo>
                  <a:pt x="40639" y="12446"/>
                </a:lnTo>
                <a:lnTo>
                  <a:pt x="36322" y="4063"/>
                </a:lnTo>
                <a:lnTo>
                  <a:pt x="30606" y="0"/>
                </a:lnTo>
                <a:close/>
              </a:path>
            </a:pathLst>
          </a:custGeom>
          <a:solidFill>
            <a:srgbClr val="D9D9D9"/>
          </a:solidFill>
        </p:spPr>
        <p:txBody>
          <a:bodyPr wrap="square" lIns="0" tIns="0" rIns="0" bIns="0" rtlCol="0"/>
          <a:lstStyle/>
          <a:p>
            <a:endParaRPr/>
          </a:p>
        </p:txBody>
      </p:sp>
      <p:sp>
        <p:nvSpPr>
          <p:cNvPr id="199" name="object 199"/>
          <p:cNvSpPr/>
          <p:nvPr/>
        </p:nvSpPr>
        <p:spPr>
          <a:xfrm>
            <a:off x="6565647" y="3523742"/>
            <a:ext cx="43814" cy="41275"/>
          </a:xfrm>
          <a:custGeom>
            <a:avLst/>
            <a:gdLst/>
            <a:ahLst/>
            <a:cxnLst/>
            <a:rect l="l" t="t" r="r" b="b"/>
            <a:pathLst>
              <a:path w="43815" h="41275">
                <a:moveTo>
                  <a:pt x="30606" y="0"/>
                </a:moveTo>
                <a:lnTo>
                  <a:pt x="16636" y="254"/>
                </a:lnTo>
                <a:lnTo>
                  <a:pt x="8254" y="4572"/>
                </a:lnTo>
                <a:lnTo>
                  <a:pt x="4063" y="10287"/>
                </a:lnTo>
                <a:lnTo>
                  <a:pt x="0" y="15875"/>
                </a:lnTo>
                <a:lnTo>
                  <a:pt x="1524" y="25781"/>
                </a:lnTo>
                <a:lnTo>
                  <a:pt x="4445" y="31369"/>
                </a:lnTo>
                <a:lnTo>
                  <a:pt x="7365" y="36830"/>
                </a:lnTo>
                <a:lnTo>
                  <a:pt x="12953" y="41021"/>
                </a:lnTo>
                <a:lnTo>
                  <a:pt x="27050" y="40767"/>
                </a:lnTo>
                <a:lnTo>
                  <a:pt x="32638" y="37973"/>
                </a:lnTo>
                <a:lnTo>
                  <a:pt x="39497" y="30734"/>
                </a:lnTo>
                <a:lnTo>
                  <a:pt x="43687" y="25146"/>
                </a:lnTo>
                <a:lnTo>
                  <a:pt x="42163" y="15240"/>
                </a:lnTo>
                <a:lnTo>
                  <a:pt x="40639" y="12446"/>
                </a:lnTo>
                <a:lnTo>
                  <a:pt x="36322" y="4063"/>
                </a:lnTo>
                <a:lnTo>
                  <a:pt x="30606" y="0"/>
                </a:lnTo>
                <a:close/>
              </a:path>
            </a:pathLst>
          </a:custGeom>
          <a:solidFill>
            <a:srgbClr val="D9D9D9"/>
          </a:solidFill>
        </p:spPr>
        <p:txBody>
          <a:bodyPr wrap="square" lIns="0" tIns="0" rIns="0" bIns="0" rtlCol="0"/>
          <a:lstStyle/>
          <a:p>
            <a:endParaRPr/>
          </a:p>
        </p:txBody>
      </p:sp>
      <p:sp>
        <p:nvSpPr>
          <p:cNvPr id="200" name="object 200"/>
          <p:cNvSpPr/>
          <p:nvPr/>
        </p:nvSpPr>
        <p:spPr>
          <a:xfrm>
            <a:off x="6607682" y="3707510"/>
            <a:ext cx="40005" cy="39370"/>
          </a:xfrm>
          <a:custGeom>
            <a:avLst/>
            <a:gdLst/>
            <a:ahLst/>
            <a:cxnLst/>
            <a:rect l="l" t="t" r="r" b="b"/>
            <a:pathLst>
              <a:path w="40004" h="39370">
                <a:moveTo>
                  <a:pt x="25571" y="37845"/>
                </a:moveTo>
                <a:lnTo>
                  <a:pt x="18669" y="37845"/>
                </a:lnTo>
                <a:lnTo>
                  <a:pt x="22860" y="39243"/>
                </a:lnTo>
                <a:lnTo>
                  <a:pt x="25571" y="37845"/>
                </a:lnTo>
                <a:close/>
              </a:path>
              <a:path w="40004" h="39370">
                <a:moveTo>
                  <a:pt x="16637" y="0"/>
                </a:moveTo>
                <a:lnTo>
                  <a:pt x="8255" y="4318"/>
                </a:lnTo>
                <a:lnTo>
                  <a:pt x="4191" y="10032"/>
                </a:lnTo>
                <a:lnTo>
                  <a:pt x="0" y="15620"/>
                </a:lnTo>
                <a:lnTo>
                  <a:pt x="126" y="22732"/>
                </a:lnTo>
                <a:lnTo>
                  <a:pt x="5969" y="33908"/>
                </a:lnTo>
                <a:lnTo>
                  <a:pt x="11557" y="37972"/>
                </a:lnTo>
                <a:lnTo>
                  <a:pt x="18669" y="37845"/>
                </a:lnTo>
                <a:lnTo>
                  <a:pt x="25571" y="37845"/>
                </a:lnTo>
                <a:lnTo>
                  <a:pt x="31242" y="34925"/>
                </a:lnTo>
                <a:lnTo>
                  <a:pt x="35306" y="29209"/>
                </a:lnTo>
                <a:lnTo>
                  <a:pt x="39497" y="23494"/>
                </a:lnTo>
                <a:lnTo>
                  <a:pt x="37973" y="13715"/>
                </a:lnTo>
                <a:lnTo>
                  <a:pt x="36449" y="10921"/>
                </a:lnTo>
                <a:lnTo>
                  <a:pt x="33655" y="5333"/>
                </a:lnTo>
                <a:lnTo>
                  <a:pt x="28113" y="1269"/>
                </a:lnTo>
                <a:lnTo>
                  <a:pt x="20827" y="1269"/>
                </a:lnTo>
                <a:lnTo>
                  <a:pt x="16637" y="0"/>
                </a:lnTo>
                <a:close/>
              </a:path>
              <a:path w="40004" h="39370">
                <a:moveTo>
                  <a:pt x="27940" y="1143"/>
                </a:moveTo>
                <a:lnTo>
                  <a:pt x="20827" y="1269"/>
                </a:lnTo>
                <a:lnTo>
                  <a:pt x="28113" y="1269"/>
                </a:lnTo>
                <a:lnTo>
                  <a:pt x="27940" y="1143"/>
                </a:lnTo>
                <a:close/>
              </a:path>
            </a:pathLst>
          </a:custGeom>
          <a:solidFill>
            <a:srgbClr val="D9D9D9"/>
          </a:solidFill>
        </p:spPr>
        <p:txBody>
          <a:bodyPr wrap="square" lIns="0" tIns="0" rIns="0" bIns="0" rtlCol="0"/>
          <a:lstStyle/>
          <a:p>
            <a:endParaRPr/>
          </a:p>
        </p:txBody>
      </p:sp>
      <p:sp>
        <p:nvSpPr>
          <p:cNvPr id="201" name="object 201"/>
          <p:cNvSpPr/>
          <p:nvPr/>
        </p:nvSpPr>
        <p:spPr>
          <a:xfrm>
            <a:off x="6607682" y="3707510"/>
            <a:ext cx="40005" cy="39370"/>
          </a:xfrm>
          <a:custGeom>
            <a:avLst/>
            <a:gdLst/>
            <a:ahLst/>
            <a:cxnLst/>
            <a:rect l="l" t="t" r="r" b="b"/>
            <a:pathLst>
              <a:path w="40004" h="39370">
                <a:moveTo>
                  <a:pt x="25571" y="37845"/>
                </a:moveTo>
                <a:lnTo>
                  <a:pt x="18669" y="37845"/>
                </a:lnTo>
                <a:lnTo>
                  <a:pt x="22860" y="39243"/>
                </a:lnTo>
                <a:lnTo>
                  <a:pt x="25571" y="37845"/>
                </a:lnTo>
                <a:close/>
              </a:path>
              <a:path w="40004" h="39370">
                <a:moveTo>
                  <a:pt x="16637" y="0"/>
                </a:moveTo>
                <a:lnTo>
                  <a:pt x="8255" y="4318"/>
                </a:lnTo>
                <a:lnTo>
                  <a:pt x="4191" y="10032"/>
                </a:lnTo>
                <a:lnTo>
                  <a:pt x="0" y="15620"/>
                </a:lnTo>
                <a:lnTo>
                  <a:pt x="126" y="22732"/>
                </a:lnTo>
                <a:lnTo>
                  <a:pt x="5969" y="33908"/>
                </a:lnTo>
                <a:lnTo>
                  <a:pt x="11557" y="37972"/>
                </a:lnTo>
                <a:lnTo>
                  <a:pt x="18669" y="37845"/>
                </a:lnTo>
                <a:lnTo>
                  <a:pt x="25571" y="37845"/>
                </a:lnTo>
                <a:lnTo>
                  <a:pt x="31242" y="34925"/>
                </a:lnTo>
                <a:lnTo>
                  <a:pt x="35306" y="29209"/>
                </a:lnTo>
                <a:lnTo>
                  <a:pt x="39497" y="23494"/>
                </a:lnTo>
                <a:lnTo>
                  <a:pt x="37973" y="13715"/>
                </a:lnTo>
                <a:lnTo>
                  <a:pt x="36449" y="10921"/>
                </a:lnTo>
                <a:lnTo>
                  <a:pt x="33655" y="5333"/>
                </a:lnTo>
                <a:lnTo>
                  <a:pt x="28113" y="1269"/>
                </a:lnTo>
                <a:lnTo>
                  <a:pt x="20827" y="1269"/>
                </a:lnTo>
                <a:lnTo>
                  <a:pt x="16637" y="0"/>
                </a:lnTo>
                <a:close/>
              </a:path>
              <a:path w="40004" h="39370">
                <a:moveTo>
                  <a:pt x="27940" y="1143"/>
                </a:moveTo>
                <a:lnTo>
                  <a:pt x="20827" y="1269"/>
                </a:lnTo>
                <a:lnTo>
                  <a:pt x="28113" y="1269"/>
                </a:lnTo>
                <a:lnTo>
                  <a:pt x="27940" y="1143"/>
                </a:lnTo>
                <a:close/>
              </a:path>
            </a:pathLst>
          </a:custGeom>
          <a:solidFill>
            <a:srgbClr val="D9D9D9"/>
          </a:solidFill>
        </p:spPr>
        <p:txBody>
          <a:bodyPr wrap="square" lIns="0" tIns="0" rIns="0" bIns="0" rtlCol="0"/>
          <a:lstStyle/>
          <a:p>
            <a:endParaRPr/>
          </a:p>
        </p:txBody>
      </p:sp>
      <p:sp>
        <p:nvSpPr>
          <p:cNvPr id="202" name="object 202"/>
          <p:cNvSpPr/>
          <p:nvPr/>
        </p:nvSpPr>
        <p:spPr>
          <a:xfrm>
            <a:off x="6665594" y="2684017"/>
            <a:ext cx="85089" cy="87630"/>
          </a:xfrm>
          <a:custGeom>
            <a:avLst/>
            <a:gdLst/>
            <a:ahLst/>
            <a:cxnLst/>
            <a:rect l="l" t="t" r="r" b="b"/>
            <a:pathLst>
              <a:path w="85090" h="87630">
                <a:moveTo>
                  <a:pt x="44450" y="0"/>
                </a:moveTo>
                <a:lnTo>
                  <a:pt x="29082" y="4445"/>
                </a:lnTo>
                <a:lnTo>
                  <a:pt x="15112" y="11684"/>
                </a:lnTo>
                <a:lnTo>
                  <a:pt x="6857" y="22987"/>
                </a:lnTo>
                <a:lnTo>
                  <a:pt x="0" y="37211"/>
                </a:lnTo>
                <a:lnTo>
                  <a:pt x="253" y="51308"/>
                </a:lnTo>
                <a:lnTo>
                  <a:pt x="6096" y="62357"/>
                </a:lnTo>
                <a:lnTo>
                  <a:pt x="10413" y="70739"/>
                </a:lnTo>
                <a:lnTo>
                  <a:pt x="26034" y="80391"/>
                </a:lnTo>
                <a:lnTo>
                  <a:pt x="40131" y="87249"/>
                </a:lnTo>
                <a:lnTo>
                  <a:pt x="55499" y="82804"/>
                </a:lnTo>
                <a:lnTo>
                  <a:pt x="72262" y="74041"/>
                </a:lnTo>
                <a:lnTo>
                  <a:pt x="80518" y="62737"/>
                </a:lnTo>
                <a:lnTo>
                  <a:pt x="84581" y="50037"/>
                </a:lnTo>
                <a:lnTo>
                  <a:pt x="84327" y="35941"/>
                </a:lnTo>
                <a:lnTo>
                  <a:pt x="81406" y="23368"/>
                </a:lnTo>
                <a:lnTo>
                  <a:pt x="72771" y="13589"/>
                </a:lnTo>
                <a:lnTo>
                  <a:pt x="61468" y="5334"/>
                </a:lnTo>
                <a:lnTo>
                  <a:pt x="44450" y="0"/>
                </a:lnTo>
                <a:close/>
              </a:path>
            </a:pathLst>
          </a:custGeom>
          <a:solidFill>
            <a:srgbClr val="D9D9D9"/>
          </a:solidFill>
        </p:spPr>
        <p:txBody>
          <a:bodyPr wrap="square" lIns="0" tIns="0" rIns="0" bIns="0" rtlCol="0"/>
          <a:lstStyle/>
          <a:p>
            <a:endParaRPr/>
          </a:p>
        </p:txBody>
      </p:sp>
      <p:sp>
        <p:nvSpPr>
          <p:cNvPr id="203" name="object 203"/>
          <p:cNvSpPr/>
          <p:nvPr/>
        </p:nvSpPr>
        <p:spPr>
          <a:xfrm>
            <a:off x="7340854" y="2502790"/>
            <a:ext cx="69215" cy="69215"/>
          </a:xfrm>
          <a:custGeom>
            <a:avLst/>
            <a:gdLst/>
            <a:ahLst/>
            <a:cxnLst/>
            <a:rect l="l" t="t" r="r" b="b"/>
            <a:pathLst>
              <a:path w="69215" h="69214">
                <a:moveTo>
                  <a:pt x="35941" y="0"/>
                </a:moveTo>
                <a:lnTo>
                  <a:pt x="23368" y="3048"/>
                </a:lnTo>
                <a:lnTo>
                  <a:pt x="12192" y="8889"/>
                </a:lnTo>
                <a:lnTo>
                  <a:pt x="1270" y="28701"/>
                </a:lnTo>
                <a:lnTo>
                  <a:pt x="0" y="39877"/>
                </a:lnTo>
                <a:lnTo>
                  <a:pt x="5842" y="51053"/>
                </a:lnTo>
                <a:lnTo>
                  <a:pt x="10160" y="59436"/>
                </a:lnTo>
                <a:lnTo>
                  <a:pt x="21463" y="67690"/>
                </a:lnTo>
                <a:lnTo>
                  <a:pt x="32766" y="68961"/>
                </a:lnTo>
                <a:lnTo>
                  <a:pt x="46863" y="68707"/>
                </a:lnTo>
                <a:lnTo>
                  <a:pt x="66294" y="51562"/>
                </a:lnTo>
                <a:lnTo>
                  <a:pt x="67494" y="39877"/>
                </a:lnTo>
                <a:lnTo>
                  <a:pt x="68706" y="29083"/>
                </a:lnTo>
                <a:lnTo>
                  <a:pt x="67182" y="19303"/>
                </a:lnTo>
                <a:lnTo>
                  <a:pt x="60071" y="12319"/>
                </a:lnTo>
                <a:lnTo>
                  <a:pt x="48641" y="4063"/>
                </a:lnTo>
                <a:lnTo>
                  <a:pt x="35941" y="0"/>
                </a:lnTo>
                <a:close/>
              </a:path>
            </a:pathLst>
          </a:custGeom>
          <a:solidFill>
            <a:srgbClr val="D9D9D9"/>
          </a:solidFill>
        </p:spPr>
        <p:txBody>
          <a:bodyPr wrap="square" lIns="0" tIns="0" rIns="0" bIns="0" rtlCol="0"/>
          <a:lstStyle/>
          <a:p>
            <a:endParaRPr/>
          </a:p>
        </p:txBody>
      </p:sp>
      <p:sp>
        <p:nvSpPr>
          <p:cNvPr id="204" name="object 204"/>
          <p:cNvSpPr/>
          <p:nvPr/>
        </p:nvSpPr>
        <p:spPr>
          <a:xfrm>
            <a:off x="7340854" y="2502790"/>
            <a:ext cx="69215" cy="69215"/>
          </a:xfrm>
          <a:custGeom>
            <a:avLst/>
            <a:gdLst/>
            <a:ahLst/>
            <a:cxnLst/>
            <a:rect l="l" t="t" r="r" b="b"/>
            <a:pathLst>
              <a:path w="69215" h="69214">
                <a:moveTo>
                  <a:pt x="35941" y="0"/>
                </a:moveTo>
                <a:lnTo>
                  <a:pt x="23368" y="3048"/>
                </a:lnTo>
                <a:lnTo>
                  <a:pt x="12192" y="8889"/>
                </a:lnTo>
                <a:lnTo>
                  <a:pt x="1270" y="28701"/>
                </a:lnTo>
                <a:lnTo>
                  <a:pt x="0" y="39877"/>
                </a:lnTo>
                <a:lnTo>
                  <a:pt x="5842" y="51053"/>
                </a:lnTo>
                <a:lnTo>
                  <a:pt x="10160" y="59436"/>
                </a:lnTo>
                <a:lnTo>
                  <a:pt x="21463" y="67690"/>
                </a:lnTo>
                <a:lnTo>
                  <a:pt x="32766" y="68961"/>
                </a:lnTo>
                <a:lnTo>
                  <a:pt x="46863" y="68707"/>
                </a:lnTo>
                <a:lnTo>
                  <a:pt x="66294" y="51562"/>
                </a:lnTo>
                <a:lnTo>
                  <a:pt x="67494" y="39877"/>
                </a:lnTo>
                <a:lnTo>
                  <a:pt x="68706" y="29083"/>
                </a:lnTo>
                <a:lnTo>
                  <a:pt x="67182" y="19303"/>
                </a:lnTo>
                <a:lnTo>
                  <a:pt x="60071" y="12319"/>
                </a:lnTo>
                <a:lnTo>
                  <a:pt x="48641" y="4063"/>
                </a:lnTo>
                <a:lnTo>
                  <a:pt x="35941" y="0"/>
                </a:lnTo>
                <a:close/>
              </a:path>
            </a:pathLst>
          </a:custGeom>
          <a:solidFill>
            <a:srgbClr val="D9D9D9"/>
          </a:solidFill>
        </p:spPr>
        <p:txBody>
          <a:bodyPr wrap="square" lIns="0" tIns="0" rIns="0" bIns="0" rtlCol="0"/>
          <a:lstStyle/>
          <a:p>
            <a:endParaRPr/>
          </a:p>
        </p:txBody>
      </p:sp>
      <p:sp>
        <p:nvSpPr>
          <p:cNvPr id="205" name="object 205"/>
          <p:cNvSpPr/>
          <p:nvPr/>
        </p:nvSpPr>
        <p:spPr>
          <a:xfrm>
            <a:off x="7500618" y="2472435"/>
            <a:ext cx="62230" cy="62230"/>
          </a:xfrm>
          <a:custGeom>
            <a:avLst/>
            <a:gdLst/>
            <a:ahLst/>
            <a:cxnLst/>
            <a:rect l="l" t="t" r="r" b="b"/>
            <a:pathLst>
              <a:path w="62229" h="62230">
                <a:moveTo>
                  <a:pt x="30352" y="0"/>
                </a:moveTo>
                <a:lnTo>
                  <a:pt x="1270" y="25780"/>
                </a:lnTo>
                <a:lnTo>
                  <a:pt x="0" y="36956"/>
                </a:lnTo>
                <a:lnTo>
                  <a:pt x="8635" y="53721"/>
                </a:lnTo>
                <a:lnTo>
                  <a:pt x="18541" y="59181"/>
                </a:lnTo>
                <a:lnTo>
                  <a:pt x="41148" y="61722"/>
                </a:lnTo>
                <a:lnTo>
                  <a:pt x="50800" y="53086"/>
                </a:lnTo>
                <a:lnTo>
                  <a:pt x="57784" y="45974"/>
                </a:lnTo>
                <a:lnTo>
                  <a:pt x="60451" y="37464"/>
                </a:lnTo>
                <a:lnTo>
                  <a:pt x="61722" y="26288"/>
                </a:lnTo>
                <a:lnTo>
                  <a:pt x="57276" y="17906"/>
                </a:lnTo>
                <a:lnTo>
                  <a:pt x="52958" y="9525"/>
                </a:lnTo>
                <a:lnTo>
                  <a:pt x="43052" y="4063"/>
                </a:lnTo>
                <a:lnTo>
                  <a:pt x="30352" y="0"/>
                </a:lnTo>
                <a:close/>
              </a:path>
            </a:pathLst>
          </a:custGeom>
          <a:solidFill>
            <a:srgbClr val="D9D9D9"/>
          </a:solidFill>
        </p:spPr>
        <p:txBody>
          <a:bodyPr wrap="square" lIns="0" tIns="0" rIns="0" bIns="0" rtlCol="0"/>
          <a:lstStyle/>
          <a:p>
            <a:endParaRPr/>
          </a:p>
        </p:txBody>
      </p:sp>
      <p:sp>
        <p:nvSpPr>
          <p:cNvPr id="206" name="object 206"/>
          <p:cNvSpPr/>
          <p:nvPr/>
        </p:nvSpPr>
        <p:spPr>
          <a:xfrm>
            <a:off x="7500618" y="2472435"/>
            <a:ext cx="62230" cy="62230"/>
          </a:xfrm>
          <a:custGeom>
            <a:avLst/>
            <a:gdLst/>
            <a:ahLst/>
            <a:cxnLst/>
            <a:rect l="l" t="t" r="r" b="b"/>
            <a:pathLst>
              <a:path w="62229" h="62230">
                <a:moveTo>
                  <a:pt x="30352" y="0"/>
                </a:moveTo>
                <a:lnTo>
                  <a:pt x="1270" y="25780"/>
                </a:lnTo>
                <a:lnTo>
                  <a:pt x="0" y="36956"/>
                </a:lnTo>
                <a:lnTo>
                  <a:pt x="8635" y="53721"/>
                </a:lnTo>
                <a:lnTo>
                  <a:pt x="18541" y="59181"/>
                </a:lnTo>
                <a:lnTo>
                  <a:pt x="41148" y="61722"/>
                </a:lnTo>
                <a:lnTo>
                  <a:pt x="50800" y="53086"/>
                </a:lnTo>
                <a:lnTo>
                  <a:pt x="57784" y="45974"/>
                </a:lnTo>
                <a:lnTo>
                  <a:pt x="60451" y="37464"/>
                </a:lnTo>
                <a:lnTo>
                  <a:pt x="61722" y="26288"/>
                </a:lnTo>
                <a:lnTo>
                  <a:pt x="57276" y="17906"/>
                </a:lnTo>
                <a:lnTo>
                  <a:pt x="52958" y="9525"/>
                </a:lnTo>
                <a:lnTo>
                  <a:pt x="43052" y="4063"/>
                </a:lnTo>
                <a:lnTo>
                  <a:pt x="30352" y="0"/>
                </a:lnTo>
                <a:close/>
              </a:path>
            </a:pathLst>
          </a:custGeom>
          <a:solidFill>
            <a:srgbClr val="D9D9D9"/>
          </a:solidFill>
        </p:spPr>
        <p:txBody>
          <a:bodyPr wrap="square" lIns="0" tIns="0" rIns="0" bIns="0" rtlCol="0"/>
          <a:lstStyle/>
          <a:p>
            <a:endParaRPr/>
          </a:p>
        </p:txBody>
      </p:sp>
      <p:sp>
        <p:nvSpPr>
          <p:cNvPr id="207" name="object 207"/>
          <p:cNvSpPr/>
          <p:nvPr/>
        </p:nvSpPr>
        <p:spPr>
          <a:xfrm>
            <a:off x="7662037" y="2470023"/>
            <a:ext cx="56515" cy="55244"/>
          </a:xfrm>
          <a:custGeom>
            <a:avLst/>
            <a:gdLst/>
            <a:ahLst/>
            <a:cxnLst/>
            <a:rect l="l" t="t" r="r" b="b"/>
            <a:pathLst>
              <a:path w="56515" h="55244">
                <a:moveTo>
                  <a:pt x="30607" y="0"/>
                </a:moveTo>
                <a:lnTo>
                  <a:pt x="17907" y="3048"/>
                </a:lnTo>
                <a:lnTo>
                  <a:pt x="9652" y="7365"/>
                </a:lnTo>
                <a:lnTo>
                  <a:pt x="2667" y="14477"/>
                </a:lnTo>
                <a:lnTo>
                  <a:pt x="0" y="22987"/>
                </a:lnTo>
                <a:lnTo>
                  <a:pt x="127" y="29972"/>
                </a:lnTo>
                <a:lnTo>
                  <a:pt x="1651" y="39750"/>
                </a:lnTo>
                <a:lnTo>
                  <a:pt x="8763" y="46736"/>
                </a:lnTo>
                <a:lnTo>
                  <a:pt x="15875" y="53593"/>
                </a:lnTo>
                <a:lnTo>
                  <a:pt x="27178" y="54863"/>
                </a:lnTo>
                <a:lnTo>
                  <a:pt x="36957" y="53339"/>
                </a:lnTo>
                <a:lnTo>
                  <a:pt x="45339" y="49022"/>
                </a:lnTo>
                <a:lnTo>
                  <a:pt x="52324" y="41910"/>
                </a:lnTo>
                <a:lnTo>
                  <a:pt x="54991" y="33400"/>
                </a:lnTo>
                <a:lnTo>
                  <a:pt x="56261" y="22098"/>
                </a:lnTo>
                <a:lnTo>
                  <a:pt x="51816" y="13715"/>
                </a:lnTo>
                <a:lnTo>
                  <a:pt x="49022" y="8127"/>
                </a:lnTo>
                <a:lnTo>
                  <a:pt x="38989" y="2666"/>
                </a:lnTo>
                <a:lnTo>
                  <a:pt x="30607" y="0"/>
                </a:lnTo>
                <a:close/>
              </a:path>
            </a:pathLst>
          </a:custGeom>
          <a:solidFill>
            <a:srgbClr val="D9D9D9"/>
          </a:solidFill>
        </p:spPr>
        <p:txBody>
          <a:bodyPr wrap="square" lIns="0" tIns="0" rIns="0" bIns="0" rtlCol="0"/>
          <a:lstStyle/>
          <a:p>
            <a:endParaRPr/>
          </a:p>
        </p:txBody>
      </p:sp>
      <p:sp>
        <p:nvSpPr>
          <p:cNvPr id="208" name="object 208"/>
          <p:cNvSpPr/>
          <p:nvPr/>
        </p:nvSpPr>
        <p:spPr>
          <a:xfrm>
            <a:off x="7662037" y="2470023"/>
            <a:ext cx="56515" cy="55244"/>
          </a:xfrm>
          <a:custGeom>
            <a:avLst/>
            <a:gdLst/>
            <a:ahLst/>
            <a:cxnLst/>
            <a:rect l="l" t="t" r="r" b="b"/>
            <a:pathLst>
              <a:path w="56515" h="55244">
                <a:moveTo>
                  <a:pt x="30607" y="0"/>
                </a:moveTo>
                <a:lnTo>
                  <a:pt x="17907" y="3048"/>
                </a:lnTo>
                <a:lnTo>
                  <a:pt x="9652" y="7365"/>
                </a:lnTo>
                <a:lnTo>
                  <a:pt x="2667" y="14477"/>
                </a:lnTo>
                <a:lnTo>
                  <a:pt x="0" y="22987"/>
                </a:lnTo>
                <a:lnTo>
                  <a:pt x="127" y="29972"/>
                </a:lnTo>
                <a:lnTo>
                  <a:pt x="1651" y="39750"/>
                </a:lnTo>
                <a:lnTo>
                  <a:pt x="8763" y="46736"/>
                </a:lnTo>
                <a:lnTo>
                  <a:pt x="15875" y="53593"/>
                </a:lnTo>
                <a:lnTo>
                  <a:pt x="27178" y="54863"/>
                </a:lnTo>
                <a:lnTo>
                  <a:pt x="36957" y="53339"/>
                </a:lnTo>
                <a:lnTo>
                  <a:pt x="45339" y="49022"/>
                </a:lnTo>
                <a:lnTo>
                  <a:pt x="52324" y="41910"/>
                </a:lnTo>
                <a:lnTo>
                  <a:pt x="54991" y="33400"/>
                </a:lnTo>
                <a:lnTo>
                  <a:pt x="56261" y="22098"/>
                </a:lnTo>
                <a:lnTo>
                  <a:pt x="51816" y="13715"/>
                </a:lnTo>
                <a:lnTo>
                  <a:pt x="49022" y="8127"/>
                </a:lnTo>
                <a:lnTo>
                  <a:pt x="38989" y="2666"/>
                </a:lnTo>
                <a:lnTo>
                  <a:pt x="30607" y="0"/>
                </a:lnTo>
                <a:close/>
              </a:path>
            </a:pathLst>
          </a:custGeom>
          <a:solidFill>
            <a:srgbClr val="D9D9D9"/>
          </a:solidFill>
        </p:spPr>
        <p:txBody>
          <a:bodyPr wrap="square" lIns="0" tIns="0" rIns="0" bIns="0" rtlCol="0"/>
          <a:lstStyle/>
          <a:p>
            <a:endParaRPr/>
          </a:p>
        </p:txBody>
      </p:sp>
      <p:sp>
        <p:nvSpPr>
          <p:cNvPr id="209" name="object 209"/>
          <p:cNvSpPr/>
          <p:nvPr/>
        </p:nvSpPr>
        <p:spPr>
          <a:xfrm>
            <a:off x="7821169" y="2493011"/>
            <a:ext cx="50800" cy="49530"/>
          </a:xfrm>
          <a:custGeom>
            <a:avLst/>
            <a:gdLst/>
            <a:ahLst/>
            <a:cxnLst/>
            <a:rect l="l" t="t" r="r" b="b"/>
            <a:pathLst>
              <a:path w="50800" h="49530">
                <a:moveTo>
                  <a:pt x="25018" y="0"/>
                </a:moveTo>
                <a:lnTo>
                  <a:pt x="18033" y="126"/>
                </a:lnTo>
                <a:lnTo>
                  <a:pt x="8254" y="8762"/>
                </a:lnTo>
                <a:lnTo>
                  <a:pt x="4190" y="14350"/>
                </a:lnTo>
                <a:lnTo>
                  <a:pt x="0" y="20065"/>
                </a:lnTo>
                <a:lnTo>
                  <a:pt x="1524" y="29972"/>
                </a:lnTo>
                <a:lnTo>
                  <a:pt x="4445" y="35432"/>
                </a:lnTo>
                <a:lnTo>
                  <a:pt x="7365" y="41020"/>
                </a:lnTo>
                <a:lnTo>
                  <a:pt x="14477" y="48005"/>
                </a:lnTo>
                <a:lnTo>
                  <a:pt x="25780" y="49275"/>
                </a:lnTo>
                <a:lnTo>
                  <a:pt x="32765" y="49149"/>
                </a:lnTo>
                <a:lnTo>
                  <a:pt x="43941" y="43306"/>
                </a:lnTo>
                <a:lnTo>
                  <a:pt x="48005" y="37718"/>
                </a:lnTo>
                <a:lnTo>
                  <a:pt x="50800" y="29210"/>
                </a:lnTo>
                <a:lnTo>
                  <a:pt x="50673" y="22098"/>
                </a:lnTo>
                <a:lnTo>
                  <a:pt x="43433" y="8254"/>
                </a:lnTo>
                <a:lnTo>
                  <a:pt x="36322" y="1269"/>
                </a:lnTo>
                <a:lnTo>
                  <a:pt x="25018" y="0"/>
                </a:lnTo>
                <a:close/>
              </a:path>
            </a:pathLst>
          </a:custGeom>
          <a:solidFill>
            <a:srgbClr val="D9D9D9"/>
          </a:solidFill>
        </p:spPr>
        <p:txBody>
          <a:bodyPr wrap="square" lIns="0" tIns="0" rIns="0" bIns="0" rtlCol="0"/>
          <a:lstStyle/>
          <a:p>
            <a:endParaRPr/>
          </a:p>
        </p:txBody>
      </p:sp>
      <p:sp>
        <p:nvSpPr>
          <p:cNvPr id="210" name="object 210"/>
          <p:cNvSpPr/>
          <p:nvPr/>
        </p:nvSpPr>
        <p:spPr>
          <a:xfrm>
            <a:off x="7821169" y="2493011"/>
            <a:ext cx="50800" cy="49530"/>
          </a:xfrm>
          <a:custGeom>
            <a:avLst/>
            <a:gdLst/>
            <a:ahLst/>
            <a:cxnLst/>
            <a:rect l="l" t="t" r="r" b="b"/>
            <a:pathLst>
              <a:path w="50800" h="49530">
                <a:moveTo>
                  <a:pt x="25018" y="0"/>
                </a:moveTo>
                <a:lnTo>
                  <a:pt x="18033" y="126"/>
                </a:lnTo>
                <a:lnTo>
                  <a:pt x="8254" y="8762"/>
                </a:lnTo>
                <a:lnTo>
                  <a:pt x="4190" y="14350"/>
                </a:lnTo>
                <a:lnTo>
                  <a:pt x="0" y="20065"/>
                </a:lnTo>
                <a:lnTo>
                  <a:pt x="1524" y="29972"/>
                </a:lnTo>
                <a:lnTo>
                  <a:pt x="4445" y="35432"/>
                </a:lnTo>
                <a:lnTo>
                  <a:pt x="7365" y="41020"/>
                </a:lnTo>
                <a:lnTo>
                  <a:pt x="14477" y="48005"/>
                </a:lnTo>
                <a:lnTo>
                  <a:pt x="25780" y="49275"/>
                </a:lnTo>
                <a:lnTo>
                  <a:pt x="32765" y="49149"/>
                </a:lnTo>
                <a:lnTo>
                  <a:pt x="43941" y="43306"/>
                </a:lnTo>
                <a:lnTo>
                  <a:pt x="48005" y="37718"/>
                </a:lnTo>
                <a:lnTo>
                  <a:pt x="50800" y="29210"/>
                </a:lnTo>
                <a:lnTo>
                  <a:pt x="50673" y="22098"/>
                </a:lnTo>
                <a:lnTo>
                  <a:pt x="43433" y="8254"/>
                </a:lnTo>
                <a:lnTo>
                  <a:pt x="36322" y="1269"/>
                </a:lnTo>
                <a:lnTo>
                  <a:pt x="25018" y="0"/>
                </a:lnTo>
                <a:close/>
              </a:path>
            </a:pathLst>
          </a:custGeom>
          <a:solidFill>
            <a:srgbClr val="D9D9D9"/>
          </a:solidFill>
        </p:spPr>
        <p:txBody>
          <a:bodyPr wrap="square" lIns="0" tIns="0" rIns="0" bIns="0" rtlCol="0"/>
          <a:lstStyle/>
          <a:p>
            <a:endParaRPr/>
          </a:p>
        </p:txBody>
      </p:sp>
      <p:sp>
        <p:nvSpPr>
          <p:cNvPr id="211" name="object 211"/>
          <p:cNvSpPr/>
          <p:nvPr/>
        </p:nvSpPr>
        <p:spPr>
          <a:xfrm>
            <a:off x="7975094" y="2544191"/>
            <a:ext cx="45085" cy="43815"/>
          </a:xfrm>
          <a:custGeom>
            <a:avLst/>
            <a:gdLst/>
            <a:ahLst/>
            <a:cxnLst/>
            <a:rect l="l" t="t" r="r" b="b"/>
            <a:pathLst>
              <a:path w="45084" h="43814">
                <a:moveTo>
                  <a:pt x="25018" y="0"/>
                </a:moveTo>
                <a:lnTo>
                  <a:pt x="15239" y="1524"/>
                </a:lnTo>
                <a:lnTo>
                  <a:pt x="6857" y="5842"/>
                </a:lnTo>
                <a:lnTo>
                  <a:pt x="2793" y="11557"/>
                </a:lnTo>
                <a:lnTo>
                  <a:pt x="0" y="20066"/>
                </a:lnTo>
                <a:lnTo>
                  <a:pt x="126" y="27050"/>
                </a:lnTo>
                <a:lnTo>
                  <a:pt x="5968" y="38226"/>
                </a:lnTo>
                <a:lnTo>
                  <a:pt x="22859" y="43561"/>
                </a:lnTo>
                <a:lnTo>
                  <a:pt x="29972" y="43561"/>
                </a:lnTo>
                <a:lnTo>
                  <a:pt x="38353" y="39116"/>
                </a:lnTo>
                <a:lnTo>
                  <a:pt x="42417" y="33528"/>
                </a:lnTo>
                <a:lnTo>
                  <a:pt x="45084" y="25019"/>
                </a:lnTo>
                <a:lnTo>
                  <a:pt x="44957" y="18034"/>
                </a:lnTo>
                <a:lnTo>
                  <a:pt x="42163" y="12446"/>
                </a:lnTo>
                <a:lnTo>
                  <a:pt x="39242" y="6858"/>
                </a:lnTo>
                <a:lnTo>
                  <a:pt x="33527" y="2667"/>
                </a:lnTo>
                <a:lnTo>
                  <a:pt x="25018" y="0"/>
                </a:lnTo>
                <a:close/>
              </a:path>
            </a:pathLst>
          </a:custGeom>
          <a:solidFill>
            <a:srgbClr val="D9D9D9"/>
          </a:solidFill>
        </p:spPr>
        <p:txBody>
          <a:bodyPr wrap="square" lIns="0" tIns="0" rIns="0" bIns="0" rtlCol="0"/>
          <a:lstStyle/>
          <a:p>
            <a:endParaRPr/>
          </a:p>
        </p:txBody>
      </p:sp>
      <p:sp>
        <p:nvSpPr>
          <p:cNvPr id="212" name="object 212"/>
          <p:cNvSpPr/>
          <p:nvPr/>
        </p:nvSpPr>
        <p:spPr>
          <a:xfrm>
            <a:off x="7975094" y="2544191"/>
            <a:ext cx="45085" cy="43815"/>
          </a:xfrm>
          <a:custGeom>
            <a:avLst/>
            <a:gdLst/>
            <a:ahLst/>
            <a:cxnLst/>
            <a:rect l="l" t="t" r="r" b="b"/>
            <a:pathLst>
              <a:path w="45084" h="43814">
                <a:moveTo>
                  <a:pt x="25018" y="0"/>
                </a:moveTo>
                <a:lnTo>
                  <a:pt x="15239" y="1524"/>
                </a:lnTo>
                <a:lnTo>
                  <a:pt x="6857" y="5842"/>
                </a:lnTo>
                <a:lnTo>
                  <a:pt x="2793" y="11557"/>
                </a:lnTo>
                <a:lnTo>
                  <a:pt x="0" y="20066"/>
                </a:lnTo>
                <a:lnTo>
                  <a:pt x="126" y="27050"/>
                </a:lnTo>
                <a:lnTo>
                  <a:pt x="5968" y="38226"/>
                </a:lnTo>
                <a:lnTo>
                  <a:pt x="22859" y="43561"/>
                </a:lnTo>
                <a:lnTo>
                  <a:pt x="29972" y="43561"/>
                </a:lnTo>
                <a:lnTo>
                  <a:pt x="38353" y="39116"/>
                </a:lnTo>
                <a:lnTo>
                  <a:pt x="42417" y="33528"/>
                </a:lnTo>
                <a:lnTo>
                  <a:pt x="45084" y="25019"/>
                </a:lnTo>
                <a:lnTo>
                  <a:pt x="44957" y="18034"/>
                </a:lnTo>
                <a:lnTo>
                  <a:pt x="42163" y="12446"/>
                </a:lnTo>
                <a:lnTo>
                  <a:pt x="39242" y="6858"/>
                </a:lnTo>
                <a:lnTo>
                  <a:pt x="33527" y="2667"/>
                </a:lnTo>
                <a:lnTo>
                  <a:pt x="25018" y="0"/>
                </a:lnTo>
                <a:close/>
              </a:path>
            </a:pathLst>
          </a:custGeom>
          <a:solidFill>
            <a:srgbClr val="D9D9D9"/>
          </a:solidFill>
        </p:spPr>
        <p:txBody>
          <a:bodyPr wrap="square" lIns="0" tIns="0" rIns="0" bIns="0" rtlCol="0"/>
          <a:lstStyle/>
          <a:p>
            <a:endParaRPr/>
          </a:p>
        </p:txBody>
      </p:sp>
      <p:sp>
        <p:nvSpPr>
          <p:cNvPr id="213" name="object 213"/>
          <p:cNvSpPr/>
          <p:nvPr/>
        </p:nvSpPr>
        <p:spPr>
          <a:xfrm>
            <a:off x="8118220" y="2620773"/>
            <a:ext cx="40005" cy="40005"/>
          </a:xfrm>
          <a:custGeom>
            <a:avLst/>
            <a:gdLst/>
            <a:ahLst/>
            <a:cxnLst/>
            <a:rect l="l" t="t" r="r" b="b"/>
            <a:pathLst>
              <a:path w="40004" h="40005">
                <a:moveTo>
                  <a:pt x="27812" y="0"/>
                </a:moveTo>
                <a:lnTo>
                  <a:pt x="13843" y="126"/>
                </a:lnTo>
                <a:lnTo>
                  <a:pt x="5460" y="4572"/>
                </a:lnTo>
                <a:lnTo>
                  <a:pt x="4063" y="8762"/>
                </a:lnTo>
                <a:lnTo>
                  <a:pt x="0" y="14477"/>
                </a:lnTo>
                <a:lnTo>
                  <a:pt x="20065" y="39497"/>
                </a:lnTo>
                <a:lnTo>
                  <a:pt x="27050" y="39369"/>
                </a:lnTo>
                <a:lnTo>
                  <a:pt x="33908" y="32257"/>
                </a:lnTo>
                <a:lnTo>
                  <a:pt x="39497" y="29337"/>
                </a:lnTo>
                <a:lnTo>
                  <a:pt x="39243" y="8254"/>
                </a:lnTo>
                <a:lnTo>
                  <a:pt x="35051" y="6857"/>
                </a:lnTo>
                <a:lnTo>
                  <a:pt x="27812" y="0"/>
                </a:lnTo>
                <a:close/>
              </a:path>
            </a:pathLst>
          </a:custGeom>
          <a:solidFill>
            <a:srgbClr val="D9D9D9"/>
          </a:solidFill>
        </p:spPr>
        <p:txBody>
          <a:bodyPr wrap="square" lIns="0" tIns="0" rIns="0" bIns="0" rtlCol="0"/>
          <a:lstStyle/>
          <a:p>
            <a:endParaRPr/>
          </a:p>
        </p:txBody>
      </p:sp>
      <p:sp>
        <p:nvSpPr>
          <p:cNvPr id="214" name="object 214"/>
          <p:cNvSpPr/>
          <p:nvPr/>
        </p:nvSpPr>
        <p:spPr>
          <a:xfrm>
            <a:off x="8118220" y="2620773"/>
            <a:ext cx="40005" cy="40005"/>
          </a:xfrm>
          <a:custGeom>
            <a:avLst/>
            <a:gdLst/>
            <a:ahLst/>
            <a:cxnLst/>
            <a:rect l="l" t="t" r="r" b="b"/>
            <a:pathLst>
              <a:path w="40004" h="40005">
                <a:moveTo>
                  <a:pt x="27812" y="0"/>
                </a:moveTo>
                <a:lnTo>
                  <a:pt x="13843" y="126"/>
                </a:lnTo>
                <a:lnTo>
                  <a:pt x="5460" y="4572"/>
                </a:lnTo>
                <a:lnTo>
                  <a:pt x="4063" y="8762"/>
                </a:lnTo>
                <a:lnTo>
                  <a:pt x="0" y="14477"/>
                </a:lnTo>
                <a:lnTo>
                  <a:pt x="20065" y="39497"/>
                </a:lnTo>
                <a:lnTo>
                  <a:pt x="27050" y="39369"/>
                </a:lnTo>
                <a:lnTo>
                  <a:pt x="33908" y="32257"/>
                </a:lnTo>
                <a:lnTo>
                  <a:pt x="39497" y="29337"/>
                </a:lnTo>
                <a:lnTo>
                  <a:pt x="39243" y="8254"/>
                </a:lnTo>
                <a:lnTo>
                  <a:pt x="35051" y="6857"/>
                </a:lnTo>
                <a:lnTo>
                  <a:pt x="27812" y="0"/>
                </a:lnTo>
                <a:close/>
              </a:path>
            </a:pathLst>
          </a:custGeom>
          <a:solidFill>
            <a:srgbClr val="D9D9D9"/>
          </a:solidFill>
        </p:spPr>
        <p:txBody>
          <a:bodyPr wrap="square" lIns="0" tIns="0" rIns="0" bIns="0" rtlCol="0"/>
          <a:lstStyle/>
          <a:p>
            <a:endParaRPr/>
          </a:p>
        </p:txBody>
      </p:sp>
      <p:sp>
        <p:nvSpPr>
          <p:cNvPr id="215" name="object 215"/>
          <p:cNvSpPr/>
          <p:nvPr/>
        </p:nvSpPr>
        <p:spPr>
          <a:xfrm>
            <a:off x="8246110" y="2718689"/>
            <a:ext cx="36830" cy="35560"/>
          </a:xfrm>
          <a:custGeom>
            <a:avLst/>
            <a:gdLst/>
            <a:ahLst/>
            <a:cxnLst/>
            <a:rect l="l" t="t" r="r" b="b"/>
            <a:pathLst>
              <a:path w="36829" h="35560">
                <a:moveTo>
                  <a:pt x="25146" y="0"/>
                </a:moveTo>
                <a:lnTo>
                  <a:pt x="11049" y="253"/>
                </a:lnTo>
                <a:lnTo>
                  <a:pt x="5461" y="3048"/>
                </a:lnTo>
                <a:lnTo>
                  <a:pt x="1397" y="8762"/>
                </a:lnTo>
                <a:lnTo>
                  <a:pt x="0" y="13081"/>
                </a:lnTo>
                <a:lnTo>
                  <a:pt x="126" y="20065"/>
                </a:lnTo>
                <a:lnTo>
                  <a:pt x="3048" y="25653"/>
                </a:lnTo>
                <a:lnTo>
                  <a:pt x="4445" y="28448"/>
                </a:lnTo>
                <a:lnTo>
                  <a:pt x="11557" y="35306"/>
                </a:lnTo>
                <a:lnTo>
                  <a:pt x="18669" y="35306"/>
                </a:lnTo>
                <a:lnTo>
                  <a:pt x="25654" y="35178"/>
                </a:lnTo>
                <a:lnTo>
                  <a:pt x="31242" y="32258"/>
                </a:lnTo>
                <a:lnTo>
                  <a:pt x="35306" y="26543"/>
                </a:lnTo>
                <a:lnTo>
                  <a:pt x="35306" y="19558"/>
                </a:lnTo>
                <a:lnTo>
                  <a:pt x="36575" y="15239"/>
                </a:lnTo>
                <a:lnTo>
                  <a:pt x="33655" y="9778"/>
                </a:lnTo>
                <a:lnTo>
                  <a:pt x="30861" y="4190"/>
                </a:lnTo>
                <a:lnTo>
                  <a:pt x="25146" y="0"/>
                </a:lnTo>
                <a:close/>
              </a:path>
            </a:pathLst>
          </a:custGeom>
          <a:solidFill>
            <a:srgbClr val="D9D9D9"/>
          </a:solidFill>
        </p:spPr>
        <p:txBody>
          <a:bodyPr wrap="square" lIns="0" tIns="0" rIns="0" bIns="0" rtlCol="0"/>
          <a:lstStyle/>
          <a:p>
            <a:endParaRPr/>
          </a:p>
        </p:txBody>
      </p:sp>
      <p:sp>
        <p:nvSpPr>
          <p:cNvPr id="216" name="object 216"/>
          <p:cNvSpPr/>
          <p:nvPr/>
        </p:nvSpPr>
        <p:spPr>
          <a:xfrm>
            <a:off x="8246110" y="2718689"/>
            <a:ext cx="36830" cy="35560"/>
          </a:xfrm>
          <a:custGeom>
            <a:avLst/>
            <a:gdLst/>
            <a:ahLst/>
            <a:cxnLst/>
            <a:rect l="l" t="t" r="r" b="b"/>
            <a:pathLst>
              <a:path w="36829" h="35560">
                <a:moveTo>
                  <a:pt x="25146" y="0"/>
                </a:moveTo>
                <a:lnTo>
                  <a:pt x="11049" y="253"/>
                </a:lnTo>
                <a:lnTo>
                  <a:pt x="5461" y="3048"/>
                </a:lnTo>
                <a:lnTo>
                  <a:pt x="1397" y="8762"/>
                </a:lnTo>
                <a:lnTo>
                  <a:pt x="0" y="13081"/>
                </a:lnTo>
                <a:lnTo>
                  <a:pt x="126" y="20065"/>
                </a:lnTo>
                <a:lnTo>
                  <a:pt x="3048" y="25653"/>
                </a:lnTo>
                <a:lnTo>
                  <a:pt x="4445" y="28448"/>
                </a:lnTo>
                <a:lnTo>
                  <a:pt x="11557" y="35306"/>
                </a:lnTo>
                <a:lnTo>
                  <a:pt x="18669" y="35306"/>
                </a:lnTo>
                <a:lnTo>
                  <a:pt x="25654" y="35178"/>
                </a:lnTo>
                <a:lnTo>
                  <a:pt x="31242" y="32258"/>
                </a:lnTo>
                <a:lnTo>
                  <a:pt x="35306" y="26543"/>
                </a:lnTo>
                <a:lnTo>
                  <a:pt x="35306" y="19558"/>
                </a:lnTo>
                <a:lnTo>
                  <a:pt x="36575" y="15239"/>
                </a:lnTo>
                <a:lnTo>
                  <a:pt x="33655" y="9778"/>
                </a:lnTo>
                <a:lnTo>
                  <a:pt x="30861" y="4190"/>
                </a:lnTo>
                <a:lnTo>
                  <a:pt x="25146" y="0"/>
                </a:lnTo>
                <a:close/>
              </a:path>
            </a:pathLst>
          </a:custGeom>
          <a:solidFill>
            <a:srgbClr val="D9D9D9"/>
          </a:solidFill>
        </p:spPr>
        <p:txBody>
          <a:bodyPr wrap="square" lIns="0" tIns="0" rIns="0" bIns="0" rtlCol="0"/>
          <a:lstStyle/>
          <a:p>
            <a:endParaRPr/>
          </a:p>
        </p:txBody>
      </p:sp>
      <p:sp>
        <p:nvSpPr>
          <p:cNvPr id="217" name="object 217"/>
          <p:cNvSpPr/>
          <p:nvPr/>
        </p:nvSpPr>
        <p:spPr>
          <a:xfrm>
            <a:off x="8354822" y="2836672"/>
            <a:ext cx="34290" cy="33020"/>
          </a:xfrm>
          <a:custGeom>
            <a:avLst/>
            <a:gdLst/>
            <a:ahLst/>
            <a:cxnLst/>
            <a:rect l="l" t="t" r="r" b="b"/>
            <a:pathLst>
              <a:path w="34290" h="33019">
                <a:moveTo>
                  <a:pt x="16509" y="0"/>
                </a:moveTo>
                <a:lnTo>
                  <a:pt x="11049" y="2920"/>
                </a:lnTo>
                <a:lnTo>
                  <a:pt x="5460" y="5841"/>
                </a:lnTo>
                <a:lnTo>
                  <a:pt x="0" y="15748"/>
                </a:lnTo>
                <a:lnTo>
                  <a:pt x="1524" y="25526"/>
                </a:lnTo>
                <a:lnTo>
                  <a:pt x="2921" y="28320"/>
                </a:lnTo>
                <a:lnTo>
                  <a:pt x="8635" y="32512"/>
                </a:lnTo>
                <a:lnTo>
                  <a:pt x="22732" y="32257"/>
                </a:lnTo>
                <a:lnTo>
                  <a:pt x="28194" y="29337"/>
                </a:lnTo>
                <a:lnTo>
                  <a:pt x="33781" y="19430"/>
                </a:lnTo>
                <a:lnTo>
                  <a:pt x="32130" y="9651"/>
                </a:lnTo>
                <a:lnTo>
                  <a:pt x="29336" y="4063"/>
                </a:lnTo>
                <a:lnTo>
                  <a:pt x="25019" y="2666"/>
                </a:lnTo>
                <a:lnTo>
                  <a:pt x="16509" y="0"/>
                </a:lnTo>
                <a:close/>
              </a:path>
            </a:pathLst>
          </a:custGeom>
          <a:solidFill>
            <a:srgbClr val="D9D9D9"/>
          </a:solidFill>
        </p:spPr>
        <p:txBody>
          <a:bodyPr wrap="square" lIns="0" tIns="0" rIns="0" bIns="0" rtlCol="0"/>
          <a:lstStyle/>
          <a:p>
            <a:endParaRPr/>
          </a:p>
        </p:txBody>
      </p:sp>
      <p:sp>
        <p:nvSpPr>
          <p:cNvPr id="218" name="object 218"/>
          <p:cNvSpPr/>
          <p:nvPr/>
        </p:nvSpPr>
        <p:spPr>
          <a:xfrm>
            <a:off x="8354822" y="2836672"/>
            <a:ext cx="34290" cy="33020"/>
          </a:xfrm>
          <a:custGeom>
            <a:avLst/>
            <a:gdLst/>
            <a:ahLst/>
            <a:cxnLst/>
            <a:rect l="l" t="t" r="r" b="b"/>
            <a:pathLst>
              <a:path w="34290" h="33019">
                <a:moveTo>
                  <a:pt x="16509" y="0"/>
                </a:moveTo>
                <a:lnTo>
                  <a:pt x="11049" y="2920"/>
                </a:lnTo>
                <a:lnTo>
                  <a:pt x="5460" y="5841"/>
                </a:lnTo>
                <a:lnTo>
                  <a:pt x="0" y="15748"/>
                </a:lnTo>
                <a:lnTo>
                  <a:pt x="1524" y="25526"/>
                </a:lnTo>
                <a:lnTo>
                  <a:pt x="2921" y="28320"/>
                </a:lnTo>
                <a:lnTo>
                  <a:pt x="8635" y="32512"/>
                </a:lnTo>
                <a:lnTo>
                  <a:pt x="22732" y="32257"/>
                </a:lnTo>
                <a:lnTo>
                  <a:pt x="28194" y="29337"/>
                </a:lnTo>
                <a:lnTo>
                  <a:pt x="33781" y="19430"/>
                </a:lnTo>
                <a:lnTo>
                  <a:pt x="32130" y="9651"/>
                </a:lnTo>
                <a:lnTo>
                  <a:pt x="29336" y="4063"/>
                </a:lnTo>
                <a:lnTo>
                  <a:pt x="25019" y="2666"/>
                </a:lnTo>
                <a:lnTo>
                  <a:pt x="16509" y="0"/>
                </a:lnTo>
                <a:close/>
              </a:path>
            </a:pathLst>
          </a:custGeom>
          <a:solidFill>
            <a:srgbClr val="D9D9D9"/>
          </a:solidFill>
        </p:spPr>
        <p:txBody>
          <a:bodyPr wrap="square" lIns="0" tIns="0" rIns="0" bIns="0" rtlCol="0"/>
          <a:lstStyle/>
          <a:p>
            <a:endParaRPr/>
          </a:p>
        </p:txBody>
      </p:sp>
      <p:sp>
        <p:nvSpPr>
          <p:cNvPr id="219" name="object 219"/>
          <p:cNvSpPr/>
          <p:nvPr/>
        </p:nvSpPr>
        <p:spPr>
          <a:xfrm>
            <a:off x="6729476" y="3175507"/>
            <a:ext cx="62230" cy="63500"/>
          </a:xfrm>
          <a:custGeom>
            <a:avLst/>
            <a:gdLst/>
            <a:ahLst/>
            <a:cxnLst/>
            <a:rect l="l" t="t" r="r" b="b"/>
            <a:pathLst>
              <a:path w="62229" h="63500">
                <a:moveTo>
                  <a:pt x="33147" y="0"/>
                </a:moveTo>
                <a:lnTo>
                  <a:pt x="1270" y="27177"/>
                </a:lnTo>
                <a:lnTo>
                  <a:pt x="0" y="38353"/>
                </a:lnTo>
                <a:lnTo>
                  <a:pt x="4318" y="46736"/>
                </a:lnTo>
                <a:lnTo>
                  <a:pt x="7239" y="52324"/>
                </a:lnTo>
                <a:lnTo>
                  <a:pt x="18542" y="60578"/>
                </a:lnTo>
                <a:lnTo>
                  <a:pt x="41148" y="63118"/>
                </a:lnTo>
                <a:lnTo>
                  <a:pt x="50800" y="54482"/>
                </a:lnTo>
                <a:lnTo>
                  <a:pt x="57784" y="47370"/>
                </a:lnTo>
                <a:lnTo>
                  <a:pt x="60451" y="38862"/>
                </a:lnTo>
                <a:lnTo>
                  <a:pt x="61722" y="27686"/>
                </a:lnTo>
                <a:lnTo>
                  <a:pt x="57403" y="19303"/>
                </a:lnTo>
                <a:lnTo>
                  <a:pt x="52958" y="10921"/>
                </a:lnTo>
                <a:lnTo>
                  <a:pt x="33147" y="0"/>
                </a:lnTo>
                <a:close/>
              </a:path>
            </a:pathLst>
          </a:custGeom>
          <a:solidFill>
            <a:srgbClr val="D9D9D9"/>
          </a:solidFill>
        </p:spPr>
        <p:txBody>
          <a:bodyPr wrap="square" lIns="0" tIns="0" rIns="0" bIns="0" rtlCol="0"/>
          <a:lstStyle/>
          <a:p>
            <a:endParaRPr/>
          </a:p>
        </p:txBody>
      </p:sp>
      <p:sp>
        <p:nvSpPr>
          <p:cNvPr id="220" name="object 220"/>
          <p:cNvSpPr/>
          <p:nvPr/>
        </p:nvSpPr>
        <p:spPr>
          <a:xfrm>
            <a:off x="6729476" y="3175507"/>
            <a:ext cx="62230" cy="63500"/>
          </a:xfrm>
          <a:custGeom>
            <a:avLst/>
            <a:gdLst/>
            <a:ahLst/>
            <a:cxnLst/>
            <a:rect l="l" t="t" r="r" b="b"/>
            <a:pathLst>
              <a:path w="62229" h="63500">
                <a:moveTo>
                  <a:pt x="33147" y="0"/>
                </a:moveTo>
                <a:lnTo>
                  <a:pt x="1270" y="27177"/>
                </a:lnTo>
                <a:lnTo>
                  <a:pt x="0" y="38353"/>
                </a:lnTo>
                <a:lnTo>
                  <a:pt x="4318" y="46736"/>
                </a:lnTo>
                <a:lnTo>
                  <a:pt x="7239" y="52324"/>
                </a:lnTo>
                <a:lnTo>
                  <a:pt x="18542" y="60578"/>
                </a:lnTo>
                <a:lnTo>
                  <a:pt x="41148" y="63118"/>
                </a:lnTo>
                <a:lnTo>
                  <a:pt x="50800" y="54482"/>
                </a:lnTo>
                <a:lnTo>
                  <a:pt x="57784" y="47370"/>
                </a:lnTo>
                <a:lnTo>
                  <a:pt x="60451" y="38862"/>
                </a:lnTo>
                <a:lnTo>
                  <a:pt x="61722" y="27686"/>
                </a:lnTo>
                <a:lnTo>
                  <a:pt x="57403" y="19303"/>
                </a:lnTo>
                <a:lnTo>
                  <a:pt x="52958" y="10921"/>
                </a:lnTo>
                <a:lnTo>
                  <a:pt x="33147" y="0"/>
                </a:lnTo>
                <a:close/>
              </a:path>
            </a:pathLst>
          </a:custGeom>
          <a:solidFill>
            <a:srgbClr val="D9D9D9"/>
          </a:solidFill>
        </p:spPr>
        <p:txBody>
          <a:bodyPr wrap="square" lIns="0" tIns="0" rIns="0" bIns="0" rtlCol="0"/>
          <a:lstStyle/>
          <a:p>
            <a:endParaRPr/>
          </a:p>
        </p:txBody>
      </p:sp>
      <p:sp>
        <p:nvSpPr>
          <p:cNvPr id="221" name="object 221"/>
          <p:cNvSpPr/>
          <p:nvPr/>
        </p:nvSpPr>
        <p:spPr>
          <a:xfrm>
            <a:off x="6710682" y="3338829"/>
            <a:ext cx="57785" cy="55244"/>
          </a:xfrm>
          <a:custGeom>
            <a:avLst/>
            <a:gdLst/>
            <a:ahLst/>
            <a:cxnLst/>
            <a:rect l="l" t="t" r="r" b="b"/>
            <a:pathLst>
              <a:path w="57784" h="55245">
                <a:moveTo>
                  <a:pt x="30479" y="0"/>
                </a:moveTo>
                <a:lnTo>
                  <a:pt x="0" y="29972"/>
                </a:lnTo>
                <a:lnTo>
                  <a:pt x="8636" y="46736"/>
                </a:lnTo>
                <a:lnTo>
                  <a:pt x="18669" y="52197"/>
                </a:lnTo>
                <a:lnTo>
                  <a:pt x="27050" y="54864"/>
                </a:lnTo>
                <a:lnTo>
                  <a:pt x="36956" y="53340"/>
                </a:lnTo>
                <a:lnTo>
                  <a:pt x="48005" y="47498"/>
                </a:lnTo>
                <a:lnTo>
                  <a:pt x="54991" y="40386"/>
                </a:lnTo>
                <a:lnTo>
                  <a:pt x="57658" y="31877"/>
                </a:lnTo>
                <a:lnTo>
                  <a:pt x="54610" y="12319"/>
                </a:lnTo>
                <a:lnTo>
                  <a:pt x="48895" y="8128"/>
                </a:lnTo>
                <a:lnTo>
                  <a:pt x="41783" y="1270"/>
                </a:lnTo>
                <a:lnTo>
                  <a:pt x="30479" y="0"/>
                </a:lnTo>
                <a:close/>
              </a:path>
            </a:pathLst>
          </a:custGeom>
          <a:solidFill>
            <a:srgbClr val="D9D9D9"/>
          </a:solidFill>
        </p:spPr>
        <p:txBody>
          <a:bodyPr wrap="square" lIns="0" tIns="0" rIns="0" bIns="0" rtlCol="0"/>
          <a:lstStyle/>
          <a:p>
            <a:endParaRPr/>
          </a:p>
        </p:txBody>
      </p:sp>
      <p:sp>
        <p:nvSpPr>
          <p:cNvPr id="222" name="object 222"/>
          <p:cNvSpPr/>
          <p:nvPr/>
        </p:nvSpPr>
        <p:spPr>
          <a:xfrm>
            <a:off x="6710682" y="3338829"/>
            <a:ext cx="57785" cy="55244"/>
          </a:xfrm>
          <a:custGeom>
            <a:avLst/>
            <a:gdLst/>
            <a:ahLst/>
            <a:cxnLst/>
            <a:rect l="l" t="t" r="r" b="b"/>
            <a:pathLst>
              <a:path w="57784" h="55245">
                <a:moveTo>
                  <a:pt x="30479" y="0"/>
                </a:moveTo>
                <a:lnTo>
                  <a:pt x="0" y="29972"/>
                </a:lnTo>
                <a:lnTo>
                  <a:pt x="8636" y="46736"/>
                </a:lnTo>
                <a:lnTo>
                  <a:pt x="18669" y="52197"/>
                </a:lnTo>
                <a:lnTo>
                  <a:pt x="27050" y="54864"/>
                </a:lnTo>
                <a:lnTo>
                  <a:pt x="36956" y="53340"/>
                </a:lnTo>
                <a:lnTo>
                  <a:pt x="48005" y="47498"/>
                </a:lnTo>
                <a:lnTo>
                  <a:pt x="54991" y="40386"/>
                </a:lnTo>
                <a:lnTo>
                  <a:pt x="57658" y="31877"/>
                </a:lnTo>
                <a:lnTo>
                  <a:pt x="54610" y="12319"/>
                </a:lnTo>
                <a:lnTo>
                  <a:pt x="48895" y="8128"/>
                </a:lnTo>
                <a:lnTo>
                  <a:pt x="41783" y="1270"/>
                </a:lnTo>
                <a:lnTo>
                  <a:pt x="30479" y="0"/>
                </a:lnTo>
                <a:close/>
              </a:path>
            </a:pathLst>
          </a:custGeom>
          <a:solidFill>
            <a:srgbClr val="D9D9D9"/>
          </a:solidFill>
        </p:spPr>
        <p:txBody>
          <a:bodyPr wrap="square" lIns="0" tIns="0" rIns="0" bIns="0" rtlCol="0"/>
          <a:lstStyle/>
          <a:p>
            <a:endParaRPr/>
          </a:p>
        </p:txBody>
      </p:sp>
      <p:sp>
        <p:nvSpPr>
          <p:cNvPr id="223" name="object 223"/>
          <p:cNvSpPr/>
          <p:nvPr/>
        </p:nvSpPr>
        <p:spPr>
          <a:xfrm>
            <a:off x="6721347" y="3498977"/>
            <a:ext cx="50800" cy="50800"/>
          </a:xfrm>
          <a:custGeom>
            <a:avLst/>
            <a:gdLst/>
            <a:ahLst/>
            <a:cxnLst/>
            <a:rect l="l" t="t" r="r" b="b"/>
            <a:pathLst>
              <a:path w="50800" h="50800">
                <a:moveTo>
                  <a:pt x="25019" y="0"/>
                </a:moveTo>
                <a:lnTo>
                  <a:pt x="15240" y="1650"/>
                </a:lnTo>
                <a:lnTo>
                  <a:pt x="6857" y="5969"/>
                </a:lnTo>
                <a:lnTo>
                  <a:pt x="2667" y="11557"/>
                </a:lnTo>
                <a:lnTo>
                  <a:pt x="0" y="20065"/>
                </a:lnTo>
                <a:lnTo>
                  <a:pt x="126" y="27177"/>
                </a:lnTo>
                <a:lnTo>
                  <a:pt x="1650" y="36957"/>
                </a:lnTo>
                <a:lnTo>
                  <a:pt x="7366" y="41021"/>
                </a:lnTo>
                <a:lnTo>
                  <a:pt x="14477" y="48006"/>
                </a:lnTo>
                <a:lnTo>
                  <a:pt x="22986" y="50673"/>
                </a:lnTo>
                <a:lnTo>
                  <a:pt x="32766" y="49149"/>
                </a:lnTo>
                <a:lnTo>
                  <a:pt x="41148" y="44831"/>
                </a:lnTo>
                <a:lnTo>
                  <a:pt x="48005" y="37592"/>
                </a:lnTo>
                <a:lnTo>
                  <a:pt x="50800" y="29210"/>
                </a:lnTo>
                <a:lnTo>
                  <a:pt x="50673" y="22098"/>
                </a:lnTo>
                <a:lnTo>
                  <a:pt x="43433" y="8255"/>
                </a:lnTo>
                <a:lnTo>
                  <a:pt x="36322" y="1270"/>
                </a:lnTo>
                <a:lnTo>
                  <a:pt x="25019" y="0"/>
                </a:lnTo>
                <a:close/>
              </a:path>
            </a:pathLst>
          </a:custGeom>
          <a:solidFill>
            <a:srgbClr val="D9D9D9"/>
          </a:solidFill>
        </p:spPr>
        <p:txBody>
          <a:bodyPr wrap="square" lIns="0" tIns="0" rIns="0" bIns="0" rtlCol="0"/>
          <a:lstStyle/>
          <a:p>
            <a:endParaRPr/>
          </a:p>
        </p:txBody>
      </p:sp>
      <p:sp>
        <p:nvSpPr>
          <p:cNvPr id="224" name="object 224"/>
          <p:cNvSpPr/>
          <p:nvPr/>
        </p:nvSpPr>
        <p:spPr>
          <a:xfrm>
            <a:off x="6721347" y="3498977"/>
            <a:ext cx="50800" cy="50800"/>
          </a:xfrm>
          <a:custGeom>
            <a:avLst/>
            <a:gdLst/>
            <a:ahLst/>
            <a:cxnLst/>
            <a:rect l="l" t="t" r="r" b="b"/>
            <a:pathLst>
              <a:path w="50800" h="50800">
                <a:moveTo>
                  <a:pt x="25019" y="0"/>
                </a:moveTo>
                <a:lnTo>
                  <a:pt x="15240" y="1650"/>
                </a:lnTo>
                <a:lnTo>
                  <a:pt x="6857" y="5969"/>
                </a:lnTo>
                <a:lnTo>
                  <a:pt x="2667" y="11557"/>
                </a:lnTo>
                <a:lnTo>
                  <a:pt x="0" y="20065"/>
                </a:lnTo>
                <a:lnTo>
                  <a:pt x="126" y="27177"/>
                </a:lnTo>
                <a:lnTo>
                  <a:pt x="1650" y="36957"/>
                </a:lnTo>
                <a:lnTo>
                  <a:pt x="7366" y="41021"/>
                </a:lnTo>
                <a:lnTo>
                  <a:pt x="14477" y="48006"/>
                </a:lnTo>
                <a:lnTo>
                  <a:pt x="22986" y="50673"/>
                </a:lnTo>
                <a:lnTo>
                  <a:pt x="32766" y="49149"/>
                </a:lnTo>
                <a:lnTo>
                  <a:pt x="41148" y="44831"/>
                </a:lnTo>
                <a:lnTo>
                  <a:pt x="48005" y="37592"/>
                </a:lnTo>
                <a:lnTo>
                  <a:pt x="50800" y="29210"/>
                </a:lnTo>
                <a:lnTo>
                  <a:pt x="50673" y="22098"/>
                </a:lnTo>
                <a:lnTo>
                  <a:pt x="43433" y="8255"/>
                </a:lnTo>
                <a:lnTo>
                  <a:pt x="36322" y="1270"/>
                </a:lnTo>
                <a:lnTo>
                  <a:pt x="25019" y="0"/>
                </a:lnTo>
                <a:close/>
              </a:path>
            </a:pathLst>
          </a:custGeom>
          <a:solidFill>
            <a:srgbClr val="D9D9D9"/>
          </a:solidFill>
        </p:spPr>
        <p:txBody>
          <a:bodyPr wrap="square" lIns="0" tIns="0" rIns="0" bIns="0" rtlCol="0"/>
          <a:lstStyle/>
          <a:p>
            <a:endParaRPr/>
          </a:p>
        </p:txBody>
      </p:sp>
      <p:sp>
        <p:nvSpPr>
          <p:cNvPr id="225" name="object 225"/>
          <p:cNvSpPr/>
          <p:nvPr/>
        </p:nvSpPr>
        <p:spPr>
          <a:xfrm>
            <a:off x="6758815" y="3657220"/>
            <a:ext cx="43814" cy="43815"/>
          </a:xfrm>
          <a:custGeom>
            <a:avLst/>
            <a:gdLst/>
            <a:ahLst/>
            <a:cxnLst/>
            <a:rect l="l" t="t" r="r" b="b"/>
            <a:pathLst>
              <a:path w="43815" h="43814">
                <a:moveTo>
                  <a:pt x="30606" y="0"/>
                </a:moveTo>
                <a:lnTo>
                  <a:pt x="0" y="15874"/>
                </a:lnTo>
                <a:lnTo>
                  <a:pt x="126" y="22986"/>
                </a:lnTo>
                <a:lnTo>
                  <a:pt x="1650" y="32765"/>
                </a:lnTo>
                <a:lnTo>
                  <a:pt x="4571" y="38353"/>
                </a:lnTo>
                <a:lnTo>
                  <a:pt x="21462" y="43687"/>
                </a:lnTo>
                <a:lnTo>
                  <a:pt x="28447" y="43560"/>
                </a:lnTo>
                <a:lnTo>
                  <a:pt x="36829" y="39242"/>
                </a:lnTo>
                <a:lnTo>
                  <a:pt x="41020" y="33527"/>
                </a:lnTo>
                <a:lnTo>
                  <a:pt x="43687" y="25145"/>
                </a:lnTo>
                <a:lnTo>
                  <a:pt x="43560" y="18033"/>
                </a:lnTo>
                <a:lnTo>
                  <a:pt x="40639" y="12445"/>
                </a:lnTo>
                <a:lnTo>
                  <a:pt x="37845" y="6984"/>
                </a:lnTo>
                <a:lnTo>
                  <a:pt x="30606" y="0"/>
                </a:lnTo>
                <a:close/>
              </a:path>
            </a:pathLst>
          </a:custGeom>
          <a:solidFill>
            <a:srgbClr val="D9D9D9"/>
          </a:solidFill>
        </p:spPr>
        <p:txBody>
          <a:bodyPr wrap="square" lIns="0" tIns="0" rIns="0" bIns="0" rtlCol="0"/>
          <a:lstStyle/>
          <a:p>
            <a:endParaRPr/>
          </a:p>
        </p:txBody>
      </p:sp>
      <p:sp>
        <p:nvSpPr>
          <p:cNvPr id="226" name="object 226"/>
          <p:cNvSpPr/>
          <p:nvPr/>
        </p:nvSpPr>
        <p:spPr>
          <a:xfrm>
            <a:off x="6758815" y="3657220"/>
            <a:ext cx="43814" cy="43815"/>
          </a:xfrm>
          <a:custGeom>
            <a:avLst/>
            <a:gdLst/>
            <a:ahLst/>
            <a:cxnLst/>
            <a:rect l="l" t="t" r="r" b="b"/>
            <a:pathLst>
              <a:path w="43815" h="43814">
                <a:moveTo>
                  <a:pt x="30606" y="0"/>
                </a:moveTo>
                <a:lnTo>
                  <a:pt x="0" y="15874"/>
                </a:lnTo>
                <a:lnTo>
                  <a:pt x="126" y="22986"/>
                </a:lnTo>
                <a:lnTo>
                  <a:pt x="1650" y="32765"/>
                </a:lnTo>
                <a:lnTo>
                  <a:pt x="4571" y="38353"/>
                </a:lnTo>
                <a:lnTo>
                  <a:pt x="21462" y="43687"/>
                </a:lnTo>
                <a:lnTo>
                  <a:pt x="28447" y="43560"/>
                </a:lnTo>
                <a:lnTo>
                  <a:pt x="36829" y="39242"/>
                </a:lnTo>
                <a:lnTo>
                  <a:pt x="41020" y="33527"/>
                </a:lnTo>
                <a:lnTo>
                  <a:pt x="43687" y="25145"/>
                </a:lnTo>
                <a:lnTo>
                  <a:pt x="43560" y="18033"/>
                </a:lnTo>
                <a:lnTo>
                  <a:pt x="40639" y="12445"/>
                </a:lnTo>
                <a:lnTo>
                  <a:pt x="37845" y="6984"/>
                </a:lnTo>
                <a:lnTo>
                  <a:pt x="30606" y="0"/>
                </a:lnTo>
                <a:close/>
              </a:path>
            </a:pathLst>
          </a:custGeom>
          <a:solidFill>
            <a:srgbClr val="D9D9D9"/>
          </a:solidFill>
        </p:spPr>
        <p:txBody>
          <a:bodyPr wrap="square" lIns="0" tIns="0" rIns="0" bIns="0" rtlCol="0"/>
          <a:lstStyle/>
          <a:p>
            <a:endParaRPr/>
          </a:p>
        </p:txBody>
      </p:sp>
      <p:sp>
        <p:nvSpPr>
          <p:cNvPr id="227" name="object 227"/>
          <p:cNvSpPr/>
          <p:nvPr/>
        </p:nvSpPr>
        <p:spPr>
          <a:xfrm>
            <a:off x="6821424" y="3804031"/>
            <a:ext cx="40005" cy="42545"/>
          </a:xfrm>
          <a:custGeom>
            <a:avLst/>
            <a:gdLst/>
            <a:ahLst/>
            <a:cxnLst/>
            <a:rect l="l" t="t" r="r" b="b"/>
            <a:pathLst>
              <a:path w="40004" h="42545">
                <a:moveTo>
                  <a:pt x="19430" y="0"/>
                </a:moveTo>
                <a:lnTo>
                  <a:pt x="5460" y="7239"/>
                </a:lnTo>
                <a:lnTo>
                  <a:pt x="1397" y="12954"/>
                </a:lnTo>
                <a:lnTo>
                  <a:pt x="0" y="17145"/>
                </a:lnTo>
                <a:lnTo>
                  <a:pt x="253" y="31242"/>
                </a:lnTo>
                <a:lnTo>
                  <a:pt x="5842" y="35433"/>
                </a:lnTo>
                <a:lnTo>
                  <a:pt x="11556" y="39497"/>
                </a:lnTo>
                <a:lnTo>
                  <a:pt x="20066" y="42164"/>
                </a:lnTo>
                <a:lnTo>
                  <a:pt x="34035" y="34925"/>
                </a:lnTo>
                <a:lnTo>
                  <a:pt x="38100" y="29337"/>
                </a:lnTo>
                <a:lnTo>
                  <a:pt x="39497" y="25019"/>
                </a:lnTo>
                <a:lnTo>
                  <a:pt x="39370" y="18034"/>
                </a:lnTo>
                <a:lnTo>
                  <a:pt x="33527" y="6858"/>
                </a:lnTo>
                <a:lnTo>
                  <a:pt x="27940" y="2667"/>
                </a:lnTo>
                <a:lnTo>
                  <a:pt x="19430" y="0"/>
                </a:lnTo>
                <a:close/>
              </a:path>
            </a:pathLst>
          </a:custGeom>
          <a:solidFill>
            <a:srgbClr val="D9D9D9"/>
          </a:solidFill>
        </p:spPr>
        <p:txBody>
          <a:bodyPr wrap="square" lIns="0" tIns="0" rIns="0" bIns="0" rtlCol="0"/>
          <a:lstStyle/>
          <a:p>
            <a:endParaRPr/>
          </a:p>
        </p:txBody>
      </p:sp>
      <p:sp>
        <p:nvSpPr>
          <p:cNvPr id="228" name="object 228"/>
          <p:cNvSpPr/>
          <p:nvPr/>
        </p:nvSpPr>
        <p:spPr>
          <a:xfrm>
            <a:off x="6821424" y="3804031"/>
            <a:ext cx="40005" cy="42545"/>
          </a:xfrm>
          <a:custGeom>
            <a:avLst/>
            <a:gdLst/>
            <a:ahLst/>
            <a:cxnLst/>
            <a:rect l="l" t="t" r="r" b="b"/>
            <a:pathLst>
              <a:path w="40004" h="42545">
                <a:moveTo>
                  <a:pt x="19430" y="0"/>
                </a:moveTo>
                <a:lnTo>
                  <a:pt x="5460" y="7239"/>
                </a:lnTo>
                <a:lnTo>
                  <a:pt x="1397" y="12954"/>
                </a:lnTo>
                <a:lnTo>
                  <a:pt x="0" y="17145"/>
                </a:lnTo>
                <a:lnTo>
                  <a:pt x="253" y="31242"/>
                </a:lnTo>
                <a:lnTo>
                  <a:pt x="5842" y="35433"/>
                </a:lnTo>
                <a:lnTo>
                  <a:pt x="11556" y="39497"/>
                </a:lnTo>
                <a:lnTo>
                  <a:pt x="20066" y="42164"/>
                </a:lnTo>
                <a:lnTo>
                  <a:pt x="34035" y="34925"/>
                </a:lnTo>
                <a:lnTo>
                  <a:pt x="38100" y="29337"/>
                </a:lnTo>
                <a:lnTo>
                  <a:pt x="39497" y="25019"/>
                </a:lnTo>
                <a:lnTo>
                  <a:pt x="39370" y="18034"/>
                </a:lnTo>
                <a:lnTo>
                  <a:pt x="33527" y="6858"/>
                </a:lnTo>
                <a:lnTo>
                  <a:pt x="27940" y="2667"/>
                </a:lnTo>
                <a:lnTo>
                  <a:pt x="19430" y="0"/>
                </a:lnTo>
                <a:close/>
              </a:path>
            </a:pathLst>
          </a:custGeom>
          <a:solidFill>
            <a:srgbClr val="D9D9D9"/>
          </a:solidFill>
        </p:spPr>
        <p:txBody>
          <a:bodyPr wrap="square" lIns="0" tIns="0" rIns="0" bIns="0" rtlCol="0"/>
          <a:lstStyle/>
          <a:p>
            <a:endParaRPr/>
          </a:p>
        </p:txBody>
      </p:sp>
      <p:sp>
        <p:nvSpPr>
          <p:cNvPr id="229" name="object 229"/>
          <p:cNvSpPr/>
          <p:nvPr/>
        </p:nvSpPr>
        <p:spPr>
          <a:xfrm>
            <a:off x="6907783" y="3940556"/>
            <a:ext cx="36830" cy="36830"/>
          </a:xfrm>
          <a:custGeom>
            <a:avLst/>
            <a:gdLst/>
            <a:ahLst/>
            <a:cxnLst/>
            <a:rect l="l" t="t" r="r" b="b"/>
            <a:pathLst>
              <a:path w="36829" h="36829">
                <a:moveTo>
                  <a:pt x="18034" y="0"/>
                </a:moveTo>
                <a:lnTo>
                  <a:pt x="6858" y="5842"/>
                </a:lnTo>
                <a:lnTo>
                  <a:pt x="1270" y="8636"/>
                </a:lnTo>
                <a:lnTo>
                  <a:pt x="1397" y="15748"/>
                </a:lnTo>
                <a:lnTo>
                  <a:pt x="0" y="19939"/>
                </a:lnTo>
                <a:lnTo>
                  <a:pt x="5842" y="31115"/>
                </a:lnTo>
                <a:lnTo>
                  <a:pt x="11557" y="35306"/>
                </a:lnTo>
                <a:lnTo>
                  <a:pt x="15748" y="36576"/>
                </a:lnTo>
                <a:lnTo>
                  <a:pt x="25526" y="35052"/>
                </a:lnTo>
                <a:lnTo>
                  <a:pt x="31115" y="32131"/>
                </a:lnTo>
                <a:lnTo>
                  <a:pt x="35306" y="26416"/>
                </a:lnTo>
                <a:lnTo>
                  <a:pt x="36575" y="22225"/>
                </a:lnTo>
                <a:lnTo>
                  <a:pt x="36575" y="15240"/>
                </a:lnTo>
                <a:lnTo>
                  <a:pt x="33655" y="9652"/>
                </a:lnTo>
                <a:lnTo>
                  <a:pt x="32131" y="6858"/>
                </a:lnTo>
                <a:lnTo>
                  <a:pt x="26543" y="2667"/>
                </a:lnTo>
                <a:lnTo>
                  <a:pt x="18034" y="0"/>
                </a:lnTo>
                <a:close/>
              </a:path>
            </a:pathLst>
          </a:custGeom>
          <a:solidFill>
            <a:srgbClr val="D9D9D9"/>
          </a:solidFill>
        </p:spPr>
        <p:txBody>
          <a:bodyPr wrap="square" lIns="0" tIns="0" rIns="0" bIns="0" rtlCol="0"/>
          <a:lstStyle/>
          <a:p>
            <a:endParaRPr/>
          </a:p>
        </p:txBody>
      </p:sp>
      <p:sp>
        <p:nvSpPr>
          <p:cNvPr id="230" name="object 230"/>
          <p:cNvSpPr/>
          <p:nvPr/>
        </p:nvSpPr>
        <p:spPr>
          <a:xfrm>
            <a:off x="6907783" y="3940556"/>
            <a:ext cx="36830" cy="36830"/>
          </a:xfrm>
          <a:custGeom>
            <a:avLst/>
            <a:gdLst/>
            <a:ahLst/>
            <a:cxnLst/>
            <a:rect l="l" t="t" r="r" b="b"/>
            <a:pathLst>
              <a:path w="36829" h="36829">
                <a:moveTo>
                  <a:pt x="18034" y="0"/>
                </a:moveTo>
                <a:lnTo>
                  <a:pt x="6858" y="5842"/>
                </a:lnTo>
                <a:lnTo>
                  <a:pt x="1270" y="8636"/>
                </a:lnTo>
                <a:lnTo>
                  <a:pt x="1397" y="15748"/>
                </a:lnTo>
                <a:lnTo>
                  <a:pt x="0" y="19939"/>
                </a:lnTo>
                <a:lnTo>
                  <a:pt x="5842" y="31115"/>
                </a:lnTo>
                <a:lnTo>
                  <a:pt x="11557" y="35306"/>
                </a:lnTo>
                <a:lnTo>
                  <a:pt x="15748" y="36576"/>
                </a:lnTo>
                <a:lnTo>
                  <a:pt x="25526" y="35052"/>
                </a:lnTo>
                <a:lnTo>
                  <a:pt x="31115" y="32131"/>
                </a:lnTo>
                <a:lnTo>
                  <a:pt x="35306" y="26416"/>
                </a:lnTo>
                <a:lnTo>
                  <a:pt x="36575" y="22225"/>
                </a:lnTo>
                <a:lnTo>
                  <a:pt x="36575" y="15240"/>
                </a:lnTo>
                <a:lnTo>
                  <a:pt x="33655" y="9652"/>
                </a:lnTo>
                <a:lnTo>
                  <a:pt x="32131" y="6858"/>
                </a:lnTo>
                <a:lnTo>
                  <a:pt x="26543" y="2667"/>
                </a:lnTo>
                <a:lnTo>
                  <a:pt x="18034" y="0"/>
                </a:lnTo>
                <a:close/>
              </a:path>
            </a:pathLst>
          </a:custGeom>
          <a:solidFill>
            <a:srgbClr val="D9D9D9"/>
          </a:solidFill>
        </p:spPr>
        <p:txBody>
          <a:bodyPr wrap="square" lIns="0" tIns="0" rIns="0" bIns="0" rtlCol="0"/>
          <a:lstStyle/>
          <a:p>
            <a:endParaRPr/>
          </a:p>
        </p:txBody>
      </p:sp>
      <p:sp>
        <p:nvSpPr>
          <p:cNvPr id="231" name="object 231"/>
          <p:cNvSpPr/>
          <p:nvPr/>
        </p:nvSpPr>
        <p:spPr>
          <a:xfrm>
            <a:off x="7396099" y="2645665"/>
            <a:ext cx="41275" cy="43815"/>
          </a:xfrm>
          <a:custGeom>
            <a:avLst/>
            <a:gdLst/>
            <a:ahLst/>
            <a:cxnLst/>
            <a:rect l="l" t="t" r="r" b="b"/>
            <a:pathLst>
              <a:path w="41275" h="43814">
                <a:moveTo>
                  <a:pt x="19430" y="0"/>
                </a:moveTo>
                <a:lnTo>
                  <a:pt x="5460" y="7238"/>
                </a:lnTo>
                <a:lnTo>
                  <a:pt x="0" y="17145"/>
                </a:lnTo>
                <a:lnTo>
                  <a:pt x="0" y="24130"/>
                </a:lnTo>
                <a:lnTo>
                  <a:pt x="1650" y="34036"/>
                </a:lnTo>
                <a:lnTo>
                  <a:pt x="12953" y="42290"/>
                </a:lnTo>
                <a:lnTo>
                  <a:pt x="24256" y="43434"/>
                </a:lnTo>
                <a:lnTo>
                  <a:pt x="29845" y="40639"/>
                </a:lnTo>
                <a:lnTo>
                  <a:pt x="38226" y="36195"/>
                </a:lnTo>
                <a:lnTo>
                  <a:pt x="40894" y="27812"/>
                </a:lnTo>
                <a:lnTo>
                  <a:pt x="40640" y="13715"/>
                </a:lnTo>
                <a:lnTo>
                  <a:pt x="33527" y="6858"/>
                </a:lnTo>
                <a:lnTo>
                  <a:pt x="27812" y="2666"/>
                </a:lnTo>
                <a:lnTo>
                  <a:pt x="19430" y="0"/>
                </a:lnTo>
                <a:close/>
              </a:path>
            </a:pathLst>
          </a:custGeom>
          <a:solidFill>
            <a:srgbClr val="D9D9D9"/>
          </a:solidFill>
        </p:spPr>
        <p:txBody>
          <a:bodyPr wrap="square" lIns="0" tIns="0" rIns="0" bIns="0" rtlCol="0"/>
          <a:lstStyle/>
          <a:p>
            <a:endParaRPr/>
          </a:p>
        </p:txBody>
      </p:sp>
      <p:sp>
        <p:nvSpPr>
          <p:cNvPr id="232" name="object 232"/>
          <p:cNvSpPr/>
          <p:nvPr/>
        </p:nvSpPr>
        <p:spPr>
          <a:xfrm>
            <a:off x="7396099" y="2645665"/>
            <a:ext cx="41275" cy="43815"/>
          </a:xfrm>
          <a:custGeom>
            <a:avLst/>
            <a:gdLst/>
            <a:ahLst/>
            <a:cxnLst/>
            <a:rect l="l" t="t" r="r" b="b"/>
            <a:pathLst>
              <a:path w="41275" h="43814">
                <a:moveTo>
                  <a:pt x="19430" y="0"/>
                </a:moveTo>
                <a:lnTo>
                  <a:pt x="5460" y="7238"/>
                </a:lnTo>
                <a:lnTo>
                  <a:pt x="0" y="17145"/>
                </a:lnTo>
                <a:lnTo>
                  <a:pt x="0" y="24130"/>
                </a:lnTo>
                <a:lnTo>
                  <a:pt x="1650" y="34036"/>
                </a:lnTo>
                <a:lnTo>
                  <a:pt x="12953" y="42290"/>
                </a:lnTo>
                <a:lnTo>
                  <a:pt x="24256" y="43434"/>
                </a:lnTo>
                <a:lnTo>
                  <a:pt x="29845" y="40639"/>
                </a:lnTo>
                <a:lnTo>
                  <a:pt x="38226" y="36195"/>
                </a:lnTo>
                <a:lnTo>
                  <a:pt x="40894" y="27812"/>
                </a:lnTo>
                <a:lnTo>
                  <a:pt x="40640" y="13715"/>
                </a:lnTo>
                <a:lnTo>
                  <a:pt x="33527" y="6858"/>
                </a:lnTo>
                <a:lnTo>
                  <a:pt x="27812" y="2666"/>
                </a:lnTo>
                <a:lnTo>
                  <a:pt x="19430" y="0"/>
                </a:lnTo>
                <a:close/>
              </a:path>
            </a:pathLst>
          </a:custGeom>
          <a:solidFill>
            <a:srgbClr val="D9D9D9"/>
          </a:solidFill>
        </p:spPr>
        <p:txBody>
          <a:bodyPr wrap="square" lIns="0" tIns="0" rIns="0" bIns="0" rtlCol="0"/>
          <a:lstStyle/>
          <a:p>
            <a:endParaRPr/>
          </a:p>
        </p:txBody>
      </p:sp>
      <p:sp>
        <p:nvSpPr>
          <p:cNvPr id="233" name="object 233"/>
          <p:cNvSpPr/>
          <p:nvPr/>
        </p:nvSpPr>
        <p:spPr>
          <a:xfrm>
            <a:off x="7529195" y="2619630"/>
            <a:ext cx="38100" cy="38735"/>
          </a:xfrm>
          <a:custGeom>
            <a:avLst/>
            <a:gdLst/>
            <a:ahLst/>
            <a:cxnLst/>
            <a:rect l="l" t="t" r="r" b="b"/>
            <a:pathLst>
              <a:path w="38100" h="38735">
                <a:moveTo>
                  <a:pt x="25019" y="0"/>
                </a:moveTo>
                <a:lnTo>
                  <a:pt x="18033" y="126"/>
                </a:lnTo>
                <a:lnTo>
                  <a:pt x="4063" y="7366"/>
                </a:lnTo>
                <a:lnTo>
                  <a:pt x="0" y="13081"/>
                </a:lnTo>
                <a:lnTo>
                  <a:pt x="0" y="20066"/>
                </a:lnTo>
                <a:lnTo>
                  <a:pt x="1650" y="29972"/>
                </a:lnTo>
                <a:lnTo>
                  <a:pt x="12953" y="38226"/>
                </a:lnTo>
                <a:lnTo>
                  <a:pt x="19938" y="38100"/>
                </a:lnTo>
                <a:lnTo>
                  <a:pt x="29845" y="36575"/>
                </a:lnTo>
                <a:lnTo>
                  <a:pt x="33908" y="30861"/>
                </a:lnTo>
                <a:lnTo>
                  <a:pt x="38100" y="25146"/>
                </a:lnTo>
                <a:lnTo>
                  <a:pt x="37846" y="11175"/>
                </a:lnTo>
                <a:lnTo>
                  <a:pt x="30733" y="4191"/>
                </a:lnTo>
                <a:lnTo>
                  <a:pt x="25019" y="0"/>
                </a:lnTo>
                <a:close/>
              </a:path>
            </a:pathLst>
          </a:custGeom>
          <a:solidFill>
            <a:srgbClr val="D9D9D9"/>
          </a:solidFill>
        </p:spPr>
        <p:txBody>
          <a:bodyPr wrap="square" lIns="0" tIns="0" rIns="0" bIns="0" rtlCol="0"/>
          <a:lstStyle/>
          <a:p>
            <a:endParaRPr/>
          </a:p>
        </p:txBody>
      </p:sp>
      <p:sp>
        <p:nvSpPr>
          <p:cNvPr id="234" name="object 234"/>
          <p:cNvSpPr/>
          <p:nvPr/>
        </p:nvSpPr>
        <p:spPr>
          <a:xfrm>
            <a:off x="7529195" y="2619630"/>
            <a:ext cx="38100" cy="38735"/>
          </a:xfrm>
          <a:custGeom>
            <a:avLst/>
            <a:gdLst/>
            <a:ahLst/>
            <a:cxnLst/>
            <a:rect l="l" t="t" r="r" b="b"/>
            <a:pathLst>
              <a:path w="38100" h="38735">
                <a:moveTo>
                  <a:pt x="25019" y="0"/>
                </a:moveTo>
                <a:lnTo>
                  <a:pt x="18033" y="126"/>
                </a:lnTo>
                <a:lnTo>
                  <a:pt x="4063" y="7366"/>
                </a:lnTo>
                <a:lnTo>
                  <a:pt x="0" y="13081"/>
                </a:lnTo>
                <a:lnTo>
                  <a:pt x="0" y="20066"/>
                </a:lnTo>
                <a:lnTo>
                  <a:pt x="1650" y="29972"/>
                </a:lnTo>
                <a:lnTo>
                  <a:pt x="12953" y="38226"/>
                </a:lnTo>
                <a:lnTo>
                  <a:pt x="19938" y="38100"/>
                </a:lnTo>
                <a:lnTo>
                  <a:pt x="29845" y="36575"/>
                </a:lnTo>
                <a:lnTo>
                  <a:pt x="33908" y="30861"/>
                </a:lnTo>
                <a:lnTo>
                  <a:pt x="38100" y="25146"/>
                </a:lnTo>
                <a:lnTo>
                  <a:pt x="37846" y="11175"/>
                </a:lnTo>
                <a:lnTo>
                  <a:pt x="30733" y="4191"/>
                </a:lnTo>
                <a:lnTo>
                  <a:pt x="25019" y="0"/>
                </a:lnTo>
                <a:close/>
              </a:path>
            </a:pathLst>
          </a:custGeom>
          <a:solidFill>
            <a:srgbClr val="D9D9D9"/>
          </a:solidFill>
        </p:spPr>
        <p:txBody>
          <a:bodyPr wrap="square" lIns="0" tIns="0" rIns="0" bIns="0" rtlCol="0"/>
          <a:lstStyle/>
          <a:p>
            <a:endParaRPr/>
          </a:p>
        </p:txBody>
      </p:sp>
      <p:sp>
        <p:nvSpPr>
          <p:cNvPr id="235" name="object 235"/>
          <p:cNvSpPr/>
          <p:nvPr/>
        </p:nvSpPr>
        <p:spPr>
          <a:xfrm>
            <a:off x="7665593" y="2616326"/>
            <a:ext cx="36830" cy="35560"/>
          </a:xfrm>
          <a:custGeom>
            <a:avLst/>
            <a:gdLst/>
            <a:ahLst/>
            <a:cxnLst/>
            <a:rect l="l" t="t" r="r" b="b"/>
            <a:pathLst>
              <a:path w="36829" h="35560">
                <a:moveTo>
                  <a:pt x="17906" y="0"/>
                </a:moveTo>
                <a:lnTo>
                  <a:pt x="8127" y="1524"/>
                </a:lnTo>
                <a:lnTo>
                  <a:pt x="3936" y="7238"/>
                </a:lnTo>
                <a:lnTo>
                  <a:pt x="2666" y="11557"/>
                </a:lnTo>
                <a:lnTo>
                  <a:pt x="0" y="19938"/>
                </a:lnTo>
                <a:lnTo>
                  <a:pt x="2793" y="25526"/>
                </a:lnTo>
                <a:lnTo>
                  <a:pt x="5714" y="31114"/>
                </a:lnTo>
                <a:lnTo>
                  <a:pt x="14224" y="33782"/>
                </a:lnTo>
                <a:lnTo>
                  <a:pt x="18414" y="35178"/>
                </a:lnTo>
                <a:lnTo>
                  <a:pt x="32384" y="27939"/>
                </a:lnTo>
                <a:lnTo>
                  <a:pt x="33781" y="23749"/>
                </a:lnTo>
                <a:lnTo>
                  <a:pt x="36449" y="15239"/>
                </a:lnTo>
                <a:lnTo>
                  <a:pt x="30606" y="4063"/>
                </a:lnTo>
                <a:lnTo>
                  <a:pt x="17906" y="0"/>
                </a:lnTo>
                <a:close/>
              </a:path>
            </a:pathLst>
          </a:custGeom>
          <a:solidFill>
            <a:srgbClr val="D9D9D9"/>
          </a:solidFill>
        </p:spPr>
        <p:txBody>
          <a:bodyPr wrap="square" lIns="0" tIns="0" rIns="0" bIns="0" rtlCol="0"/>
          <a:lstStyle/>
          <a:p>
            <a:endParaRPr/>
          </a:p>
        </p:txBody>
      </p:sp>
      <p:sp>
        <p:nvSpPr>
          <p:cNvPr id="236" name="object 236"/>
          <p:cNvSpPr/>
          <p:nvPr/>
        </p:nvSpPr>
        <p:spPr>
          <a:xfrm>
            <a:off x="7665593" y="2616326"/>
            <a:ext cx="36830" cy="35560"/>
          </a:xfrm>
          <a:custGeom>
            <a:avLst/>
            <a:gdLst/>
            <a:ahLst/>
            <a:cxnLst/>
            <a:rect l="l" t="t" r="r" b="b"/>
            <a:pathLst>
              <a:path w="36829" h="35560">
                <a:moveTo>
                  <a:pt x="17906" y="0"/>
                </a:moveTo>
                <a:lnTo>
                  <a:pt x="8127" y="1524"/>
                </a:lnTo>
                <a:lnTo>
                  <a:pt x="3936" y="7238"/>
                </a:lnTo>
                <a:lnTo>
                  <a:pt x="2666" y="11557"/>
                </a:lnTo>
                <a:lnTo>
                  <a:pt x="0" y="19938"/>
                </a:lnTo>
                <a:lnTo>
                  <a:pt x="2793" y="25526"/>
                </a:lnTo>
                <a:lnTo>
                  <a:pt x="5714" y="31114"/>
                </a:lnTo>
                <a:lnTo>
                  <a:pt x="14224" y="33782"/>
                </a:lnTo>
                <a:lnTo>
                  <a:pt x="18414" y="35178"/>
                </a:lnTo>
                <a:lnTo>
                  <a:pt x="32384" y="27939"/>
                </a:lnTo>
                <a:lnTo>
                  <a:pt x="33781" y="23749"/>
                </a:lnTo>
                <a:lnTo>
                  <a:pt x="36449" y="15239"/>
                </a:lnTo>
                <a:lnTo>
                  <a:pt x="30606" y="4063"/>
                </a:lnTo>
                <a:lnTo>
                  <a:pt x="17906" y="0"/>
                </a:lnTo>
                <a:close/>
              </a:path>
            </a:pathLst>
          </a:custGeom>
          <a:solidFill>
            <a:srgbClr val="D9D9D9"/>
          </a:solidFill>
        </p:spPr>
        <p:txBody>
          <a:bodyPr wrap="square" lIns="0" tIns="0" rIns="0" bIns="0" rtlCol="0"/>
          <a:lstStyle/>
          <a:p>
            <a:endParaRPr/>
          </a:p>
        </p:txBody>
      </p:sp>
      <p:sp>
        <p:nvSpPr>
          <p:cNvPr id="237" name="object 237"/>
          <p:cNvSpPr/>
          <p:nvPr/>
        </p:nvSpPr>
        <p:spPr>
          <a:xfrm>
            <a:off x="7802120" y="2636774"/>
            <a:ext cx="31115" cy="29845"/>
          </a:xfrm>
          <a:custGeom>
            <a:avLst/>
            <a:gdLst/>
            <a:ahLst/>
            <a:cxnLst/>
            <a:rect l="l" t="t" r="r" b="b"/>
            <a:pathLst>
              <a:path w="31115" h="29844">
                <a:moveTo>
                  <a:pt x="19430" y="0"/>
                </a:moveTo>
                <a:lnTo>
                  <a:pt x="12446" y="126"/>
                </a:lnTo>
                <a:lnTo>
                  <a:pt x="9651" y="1524"/>
                </a:lnTo>
                <a:lnTo>
                  <a:pt x="4063" y="4445"/>
                </a:lnTo>
                <a:lnTo>
                  <a:pt x="0" y="10160"/>
                </a:lnTo>
                <a:lnTo>
                  <a:pt x="0" y="17145"/>
                </a:lnTo>
                <a:lnTo>
                  <a:pt x="1524" y="19938"/>
                </a:lnTo>
                <a:lnTo>
                  <a:pt x="4445" y="25526"/>
                </a:lnTo>
                <a:lnTo>
                  <a:pt x="10032" y="29717"/>
                </a:lnTo>
                <a:lnTo>
                  <a:pt x="17145" y="29590"/>
                </a:lnTo>
                <a:lnTo>
                  <a:pt x="22732" y="26670"/>
                </a:lnTo>
                <a:lnTo>
                  <a:pt x="25526" y="25273"/>
                </a:lnTo>
                <a:lnTo>
                  <a:pt x="29590" y="19558"/>
                </a:lnTo>
                <a:lnTo>
                  <a:pt x="29463" y="12573"/>
                </a:lnTo>
                <a:lnTo>
                  <a:pt x="30860" y="8254"/>
                </a:lnTo>
                <a:lnTo>
                  <a:pt x="25146" y="4190"/>
                </a:lnTo>
                <a:lnTo>
                  <a:pt x="19430" y="0"/>
                </a:lnTo>
                <a:close/>
              </a:path>
            </a:pathLst>
          </a:custGeom>
          <a:solidFill>
            <a:srgbClr val="D9D9D9"/>
          </a:solidFill>
        </p:spPr>
        <p:txBody>
          <a:bodyPr wrap="square" lIns="0" tIns="0" rIns="0" bIns="0" rtlCol="0"/>
          <a:lstStyle/>
          <a:p>
            <a:endParaRPr/>
          </a:p>
        </p:txBody>
      </p:sp>
      <p:sp>
        <p:nvSpPr>
          <p:cNvPr id="238" name="object 238"/>
          <p:cNvSpPr/>
          <p:nvPr/>
        </p:nvSpPr>
        <p:spPr>
          <a:xfrm>
            <a:off x="7802120" y="2636774"/>
            <a:ext cx="31115" cy="29845"/>
          </a:xfrm>
          <a:custGeom>
            <a:avLst/>
            <a:gdLst/>
            <a:ahLst/>
            <a:cxnLst/>
            <a:rect l="l" t="t" r="r" b="b"/>
            <a:pathLst>
              <a:path w="31115" h="29844">
                <a:moveTo>
                  <a:pt x="19430" y="0"/>
                </a:moveTo>
                <a:lnTo>
                  <a:pt x="12446" y="126"/>
                </a:lnTo>
                <a:lnTo>
                  <a:pt x="9651" y="1524"/>
                </a:lnTo>
                <a:lnTo>
                  <a:pt x="4063" y="4445"/>
                </a:lnTo>
                <a:lnTo>
                  <a:pt x="0" y="10160"/>
                </a:lnTo>
                <a:lnTo>
                  <a:pt x="0" y="17145"/>
                </a:lnTo>
                <a:lnTo>
                  <a:pt x="1524" y="19938"/>
                </a:lnTo>
                <a:lnTo>
                  <a:pt x="4445" y="25526"/>
                </a:lnTo>
                <a:lnTo>
                  <a:pt x="10032" y="29717"/>
                </a:lnTo>
                <a:lnTo>
                  <a:pt x="17145" y="29590"/>
                </a:lnTo>
                <a:lnTo>
                  <a:pt x="22732" y="26670"/>
                </a:lnTo>
                <a:lnTo>
                  <a:pt x="25526" y="25273"/>
                </a:lnTo>
                <a:lnTo>
                  <a:pt x="29590" y="19558"/>
                </a:lnTo>
                <a:lnTo>
                  <a:pt x="29463" y="12573"/>
                </a:lnTo>
                <a:lnTo>
                  <a:pt x="30860" y="8254"/>
                </a:lnTo>
                <a:lnTo>
                  <a:pt x="25146" y="4190"/>
                </a:lnTo>
                <a:lnTo>
                  <a:pt x="19430" y="0"/>
                </a:lnTo>
                <a:close/>
              </a:path>
            </a:pathLst>
          </a:custGeom>
          <a:solidFill>
            <a:srgbClr val="D9D9D9"/>
          </a:solidFill>
        </p:spPr>
        <p:txBody>
          <a:bodyPr wrap="square" lIns="0" tIns="0" rIns="0" bIns="0" rtlCol="0"/>
          <a:lstStyle/>
          <a:p>
            <a:endParaRPr/>
          </a:p>
        </p:txBody>
      </p:sp>
      <p:sp>
        <p:nvSpPr>
          <p:cNvPr id="239" name="object 239"/>
          <p:cNvSpPr/>
          <p:nvPr/>
        </p:nvSpPr>
        <p:spPr>
          <a:xfrm>
            <a:off x="7932040" y="2678558"/>
            <a:ext cx="27304" cy="28575"/>
          </a:xfrm>
          <a:custGeom>
            <a:avLst/>
            <a:gdLst/>
            <a:ahLst/>
            <a:cxnLst/>
            <a:rect l="l" t="t" r="r" b="b"/>
            <a:pathLst>
              <a:path w="27304" h="28575">
                <a:moveTo>
                  <a:pt x="13842" y="0"/>
                </a:moveTo>
                <a:lnTo>
                  <a:pt x="6857" y="126"/>
                </a:lnTo>
                <a:lnTo>
                  <a:pt x="2666" y="5714"/>
                </a:lnTo>
                <a:lnTo>
                  <a:pt x="1396" y="10032"/>
                </a:lnTo>
                <a:lnTo>
                  <a:pt x="0" y="14223"/>
                </a:lnTo>
                <a:lnTo>
                  <a:pt x="126" y="21208"/>
                </a:lnTo>
                <a:lnTo>
                  <a:pt x="4317" y="22605"/>
                </a:lnTo>
                <a:lnTo>
                  <a:pt x="10032" y="26796"/>
                </a:lnTo>
                <a:lnTo>
                  <a:pt x="14350" y="28066"/>
                </a:lnTo>
                <a:lnTo>
                  <a:pt x="19938" y="25145"/>
                </a:lnTo>
                <a:lnTo>
                  <a:pt x="25400" y="22351"/>
                </a:lnTo>
                <a:lnTo>
                  <a:pt x="26796" y="18033"/>
                </a:lnTo>
                <a:lnTo>
                  <a:pt x="26669" y="11048"/>
                </a:lnTo>
                <a:lnTo>
                  <a:pt x="25272" y="8254"/>
                </a:lnTo>
                <a:lnTo>
                  <a:pt x="22351" y="2666"/>
                </a:lnTo>
                <a:lnTo>
                  <a:pt x="18160" y="1269"/>
                </a:lnTo>
                <a:lnTo>
                  <a:pt x="13842" y="0"/>
                </a:lnTo>
                <a:close/>
              </a:path>
            </a:pathLst>
          </a:custGeom>
          <a:solidFill>
            <a:srgbClr val="D9D9D9"/>
          </a:solidFill>
        </p:spPr>
        <p:txBody>
          <a:bodyPr wrap="square" lIns="0" tIns="0" rIns="0" bIns="0" rtlCol="0"/>
          <a:lstStyle/>
          <a:p>
            <a:endParaRPr/>
          </a:p>
        </p:txBody>
      </p:sp>
      <p:sp>
        <p:nvSpPr>
          <p:cNvPr id="240" name="object 240"/>
          <p:cNvSpPr/>
          <p:nvPr/>
        </p:nvSpPr>
        <p:spPr>
          <a:xfrm>
            <a:off x="7932040" y="2678558"/>
            <a:ext cx="27304" cy="28575"/>
          </a:xfrm>
          <a:custGeom>
            <a:avLst/>
            <a:gdLst/>
            <a:ahLst/>
            <a:cxnLst/>
            <a:rect l="l" t="t" r="r" b="b"/>
            <a:pathLst>
              <a:path w="27304" h="28575">
                <a:moveTo>
                  <a:pt x="13842" y="0"/>
                </a:moveTo>
                <a:lnTo>
                  <a:pt x="6857" y="126"/>
                </a:lnTo>
                <a:lnTo>
                  <a:pt x="2666" y="5714"/>
                </a:lnTo>
                <a:lnTo>
                  <a:pt x="1396" y="10032"/>
                </a:lnTo>
                <a:lnTo>
                  <a:pt x="0" y="14223"/>
                </a:lnTo>
                <a:lnTo>
                  <a:pt x="126" y="21208"/>
                </a:lnTo>
                <a:lnTo>
                  <a:pt x="4317" y="22605"/>
                </a:lnTo>
                <a:lnTo>
                  <a:pt x="10032" y="26796"/>
                </a:lnTo>
                <a:lnTo>
                  <a:pt x="14350" y="28066"/>
                </a:lnTo>
                <a:lnTo>
                  <a:pt x="19938" y="25145"/>
                </a:lnTo>
                <a:lnTo>
                  <a:pt x="25400" y="22351"/>
                </a:lnTo>
                <a:lnTo>
                  <a:pt x="26796" y="18033"/>
                </a:lnTo>
                <a:lnTo>
                  <a:pt x="26669" y="11048"/>
                </a:lnTo>
                <a:lnTo>
                  <a:pt x="25272" y="8254"/>
                </a:lnTo>
                <a:lnTo>
                  <a:pt x="22351" y="2666"/>
                </a:lnTo>
                <a:lnTo>
                  <a:pt x="18160" y="1269"/>
                </a:lnTo>
                <a:lnTo>
                  <a:pt x="13842" y="0"/>
                </a:lnTo>
                <a:close/>
              </a:path>
            </a:pathLst>
          </a:custGeom>
          <a:solidFill>
            <a:srgbClr val="D9D9D9"/>
          </a:solidFill>
        </p:spPr>
        <p:txBody>
          <a:bodyPr wrap="square" lIns="0" tIns="0" rIns="0" bIns="0" rtlCol="0"/>
          <a:lstStyle/>
          <a:p>
            <a:endParaRPr/>
          </a:p>
        </p:txBody>
      </p:sp>
      <p:sp>
        <p:nvSpPr>
          <p:cNvPr id="241" name="object 241"/>
          <p:cNvSpPr/>
          <p:nvPr/>
        </p:nvSpPr>
        <p:spPr>
          <a:xfrm>
            <a:off x="7334758" y="4105783"/>
            <a:ext cx="31115" cy="31115"/>
          </a:xfrm>
          <a:custGeom>
            <a:avLst/>
            <a:gdLst/>
            <a:ahLst/>
            <a:cxnLst/>
            <a:rect l="l" t="t" r="r" b="b"/>
            <a:pathLst>
              <a:path w="31115" h="31114">
                <a:moveTo>
                  <a:pt x="16637" y="0"/>
                </a:moveTo>
                <a:lnTo>
                  <a:pt x="9651" y="127"/>
                </a:lnTo>
                <a:lnTo>
                  <a:pt x="5461" y="5715"/>
                </a:lnTo>
                <a:lnTo>
                  <a:pt x="1397" y="11430"/>
                </a:lnTo>
                <a:lnTo>
                  <a:pt x="0" y="15621"/>
                </a:lnTo>
                <a:lnTo>
                  <a:pt x="5842" y="26797"/>
                </a:lnTo>
                <a:lnTo>
                  <a:pt x="11430" y="30988"/>
                </a:lnTo>
                <a:lnTo>
                  <a:pt x="18542" y="30861"/>
                </a:lnTo>
                <a:lnTo>
                  <a:pt x="29718" y="25019"/>
                </a:lnTo>
                <a:lnTo>
                  <a:pt x="30988" y="20828"/>
                </a:lnTo>
                <a:lnTo>
                  <a:pt x="30734" y="6731"/>
                </a:lnTo>
                <a:lnTo>
                  <a:pt x="25146" y="2667"/>
                </a:lnTo>
                <a:lnTo>
                  <a:pt x="20827" y="1270"/>
                </a:lnTo>
                <a:lnTo>
                  <a:pt x="16637" y="0"/>
                </a:lnTo>
                <a:close/>
              </a:path>
            </a:pathLst>
          </a:custGeom>
          <a:solidFill>
            <a:srgbClr val="D9D9D9"/>
          </a:solidFill>
        </p:spPr>
        <p:txBody>
          <a:bodyPr wrap="square" lIns="0" tIns="0" rIns="0" bIns="0" rtlCol="0"/>
          <a:lstStyle/>
          <a:p>
            <a:endParaRPr/>
          </a:p>
        </p:txBody>
      </p:sp>
      <p:sp>
        <p:nvSpPr>
          <p:cNvPr id="242" name="object 242"/>
          <p:cNvSpPr/>
          <p:nvPr/>
        </p:nvSpPr>
        <p:spPr>
          <a:xfrm>
            <a:off x="7334758" y="4105783"/>
            <a:ext cx="31115" cy="31115"/>
          </a:xfrm>
          <a:custGeom>
            <a:avLst/>
            <a:gdLst/>
            <a:ahLst/>
            <a:cxnLst/>
            <a:rect l="l" t="t" r="r" b="b"/>
            <a:pathLst>
              <a:path w="31115" h="31114">
                <a:moveTo>
                  <a:pt x="16637" y="0"/>
                </a:moveTo>
                <a:lnTo>
                  <a:pt x="9651" y="127"/>
                </a:lnTo>
                <a:lnTo>
                  <a:pt x="5461" y="5715"/>
                </a:lnTo>
                <a:lnTo>
                  <a:pt x="1397" y="11430"/>
                </a:lnTo>
                <a:lnTo>
                  <a:pt x="0" y="15621"/>
                </a:lnTo>
                <a:lnTo>
                  <a:pt x="5842" y="26797"/>
                </a:lnTo>
                <a:lnTo>
                  <a:pt x="11430" y="30988"/>
                </a:lnTo>
                <a:lnTo>
                  <a:pt x="18542" y="30861"/>
                </a:lnTo>
                <a:lnTo>
                  <a:pt x="29718" y="25019"/>
                </a:lnTo>
                <a:lnTo>
                  <a:pt x="30988" y="20828"/>
                </a:lnTo>
                <a:lnTo>
                  <a:pt x="30734" y="6731"/>
                </a:lnTo>
                <a:lnTo>
                  <a:pt x="25146" y="2667"/>
                </a:lnTo>
                <a:lnTo>
                  <a:pt x="20827" y="1270"/>
                </a:lnTo>
                <a:lnTo>
                  <a:pt x="16637" y="0"/>
                </a:lnTo>
                <a:close/>
              </a:path>
            </a:pathLst>
          </a:custGeom>
          <a:solidFill>
            <a:srgbClr val="D9D9D9"/>
          </a:solidFill>
        </p:spPr>
        <p:txBody>
          <a:bodyPr wrap="square" lIns="0" tIns="0" rIns="0" bIns="0" rtlCol="0"/>
          <a:lstStyle/>
          <a:p>
            <a:endParaRPr/>
          </a:p>
        </p:txBody>
      </p:sp>
      <p:sp>
        <p:nvSpPr>
          <p:cNvPr id="243" name="object 243"/>
          <p:cNvSpPr/>
          <p:nvPr/>
        </p:nvSpPr>
        <p:spPr>
          <a:xfrm>
            <a:off x="7465949" y="4146042"/>
            <a:ext cx="28575" cy="29845"/>
          </a:xfrm>
          <a:custGeom>
            <a:avLst/>
            <a:gdLst/>
            <a:ahLst/>
            <a:cxnLst/>
            <a:rect l="l" t="t" r="r" b="b"/>
            <a:pathLst>
              <a:path w="28575" h="29845">
                <a:moveTo>
                  <a:pt x="12573" y="0"/>
                </a:moveTo>
                <a:lnTo>
                  <a:pt x="6984" y="2920"/>
                </a:lnTo>
                <a:lnTo>
                  <a:pt x="4191" y="4317"/>
                </a:lnTo>
                <a:lnTo>
                  <a:pt x="0" y="10032"/>
                </a:lnTo>
                <a:lnTo>
                  <a:pt x="126" y="17017"/>
                </a:lnTo>
                <a:lnTo>
                  <a:pt x="3048" y="22605"/>
                </a:lnTo>
                <a:lnTo>
                  <a:pt x="4445" y="25399"/>
                </a:lnTo>
                <a:lnTo>
                  <a:pt x="10159" y="29590"/>
                </a:lnTo>
                <a:lnTo>
                  <a:pt x="17272" y="29463"/>
                </a:lnTo>
                <a:lnTo>
                  <a:pt x="19939" y="27939"/>
                </a:lnTo>
                <a:lnTo>
                  <a:pt x="25526" y="25145"/>
                </a:lnTo>
                <a:lnTo>
                  <a:pt x="26924" y="20827"/>
                </a:lnTo>
                <a:lnTo>
                  <a:pt x="26797" y="13842"/>
                </a:lnTo>
                <a:lnTo>
                  <a:pt x="28194" y="9651"/>
                </a:lnTo>
                <a:lnTo>
                  <a:pt x="22478" y="5460"/>
                </a:lnTo>
                <a:lnTo>
                  <a:pt x="16764" y="1396"/>
                </a:lnTo>
                <a:lnTo>
                  <a:pt x="12573" y="0"/>
                </a:lnTo>
                <a:close/>
              </a:path>
            </a:pathLst>
          </a:custGeom>
          <a:solidFill>
            <a:srgbClr val="D9D9D9"/>
          </a:solidFill>
        </p:spPr>
        <p:txBody>
          <a:bodyPr wrap="square" lIns="0" tIns="0" rIns="0" bIns="0" rtlCol="0"/>
          <a:lstStyle/>
          <a:p>
            <a:endParaRPr/>
          </a:p>
        </p:txBody>
      </p:sp>
      <p:sp>
        <p:nvSpPr>
          <p:cNvPr id="244" name="object 244"/>
          <p:cNvSpPr/>
          <p:nvPr/>
        </p:nvSpPr>
        <p:spPr>
          <a:xfrm>
            <a:off x="7465949" y="4146042"/>
            <a:ext cx="28575" cy="29845"/>
          </a:xfrm>
          <a:custGeom>
            <a:avLst/>
            <a:gdLst/>
            <a:ahLst/>
            <a:cxnLst/>
            <a:rect l="l" t="t" r="r" b="b"/>
            <a:pathLst>
              <a:path w="28575" h="29845">
                <a:moveTo>
                  <a:pt x="12573" y="0"/>
                </a:moveTo>
                <a:lnTo>
                  <a:pt x="6984" y="2920"/>
                </a:lnTo>
                <a:lnTo>
                  <a:pt x="4191" y="4317"/>
                </a:lnTo>
                <a:lnTo>
                  <a:pt x="0" y="10032"/>
                </a:lnTo>
                <a:lnTo>
                  <a:pt x="126" y="17017"/>
                </a:lnTo>
                <a:lnTo>
                  <a:pt x="3048" y="22605"/>
                </a:lnTo>
                <a:lnTo>
                  <a:pt x="4445" y="25399"/>
                </a:lnTo>
                <a:lnTo>
                  <a:pt x="10159" y="29590"/>
                </a:lnTo>
                <a:lnTo>
                  <a:pt x="17272" y="29463"/>
                </a:lnTo>
                <a:lnTo>
                  <a:pt x="19939" y="27939"/>
                </a:lnTo>
                <a:lnTo>
                  <a:pt x="25526" y="25145"/>
                </a:lnTo>
                <a:lnTo>
                  <a:pt x="26924" y="20827"/>
                </a:lnTo>
                <a:lnTo>
                  <a:pt x="26797" y="13842"/>
                </a:lnTo>
                <a:lnTo>
                  <a:pt x="28194" y="9651"/>
                </a:lnTo>
                <a:lnTo>
                  <a:pt x="22478" y="5460"/>
                </a:lnTo>
                <a:lnTo>
                  <a:pt x="16764" y="1396"/>
                </a:lnTo>
                <a:lnTo>
                  <a:pt x="12573" y="0"/>
                </a:lnTo>
                <a:close/>
              </a:path>
            </a:pathLst>
          </a:custGeom>
          <a:solidFill>
            <a:srgbClr val="D9D9D9"/>
          </a:solidFill>
        </p:spPr>
        <p:txBody>
          <a:bodyPr wrap="square" lIns="0" tIns="0" rIns="0" bIns="0" rtlCol="0"/>
          <a:lstStyle/>
          <a:p>
            <a:endParaRPr/>
          </a:p>
        </p:txBody>
      </p:sp>
      <p:sp>
        <p:nvSpPr>
          <p:cNvPr id="245" name="object 245"/>
          <p:cNvSpPr/>
          <p:nvPr/>
        </p:nvSpPr>
        <p:spPr>
          <a:xfrm>
            <a:off x="7437120" y="2765933"/>
            <a:ext cx="28575" cy="27305"/>
          </a:xfrm>
          <a:custGeom>
            <a:avLst/>
            <a:gdLst/>
            <a:ahLst/>
            <a:cxnLst/>
            <a:rect l="l" t="t" r="r" b="b"/>
            <a:pathLst>
              <a:path w="28575" h="27305">
                <a:moveTo>
                  <a:pt x="19557" y="0"/>
                </a:moveTo>
                <a:lnTo>
                  <a:pt x="12446" y="126"/>
                </a:lnTo>
                <a:lnTo>
                  <a:pt x="6857" y="3047"/>
                </a:lnTo>
                <a:lnTo>
                  <a:pt x="4063" y="4444"/>
                </a:lnTo>
                <a:lnTo>
                  <a:pt x="0" y="10159"/>
                </a:lnTo>
                <a:lnTo>
                  <a:pt x="2921" y="15747"/>
                </a:lnTo>
                <a:lnTo>
                  <a:pt x="4318" y="18541"/>
                </a:lnTo>
                <a:lnTo>
                  <a:pt x="8635" y="26924"/>
                </a:lnTo>
                <a:lnTo>
                  <a:pt x="18414" y="25272"/>
                </a:lnTo>
                <a:lnTo>
                  <a:pt x="21208" y="23875"/>
                </a:lnTo>
                <a:lnTo>
                  <a:pt x="26797" y="20954"/>
                </a:lnTo>
                <a:lnTo>
                  <a:pt x="28194" y="16763"/>
                </a:lnTo>
                <a:lnTo>
                  <a:pt x="28066" y="9651"/>
                </a:lnTo>
                <a:lnTo>
                  <a:pt x="26670" y="6857"/>
                </a:lnTo>
                <a:lnTo>
                  <a:pt x="19557" y="0"/>
                </a:lnTo>
                <a:close/>
              </a:path>
            </a:pathLst>
          </a:custGeom>
          <a:solidFill>
            <a:srgbClr val="D9D9D9"/>
          </a:solidFill>
        </p:spPr>
        <p:txBody>
          <a:bodyPr wrap="square" lIns="0" tIns="0" rIns="0" bIns="0" rtlCol="0"/>
          <a:lstStyle/>
          <a:p>
            <a:endParaRPr/>
          </a:p>
        </p:txBody>
      </p:sp>
      <p:sp>
        <p:nvSpPr>
          <p:cNvPr id="246" name="object 246"/>
          <p:cNvSpPr/>
          <p:nvPr/>
        </p:nvSpPr>
        <p:spPr>
          <a:xfrm>
            <a:off x="7437120" y="2765933"/>
            <a:ext cx="28575" cy="27305"/>
          </a:xfrm>
          <a:custGeom>
            <a:avLst/>
            <a:gdLst/>
            <a:ahLst/>
            <a:cxnLst/>
            <a:rect l="l" t="t" r="r" b="b"/>
            <a:pathLst>
              <a:path w="28575" h="27305">
                <a:moveTo>
                  <a:pt x="19557" y="0"/>
                </a:moveTo>
                <a:lnTo>
                  <a:pt x="12446" y="126"/>
                </a:lnTo>
                <a:lnTo>
                  <a:pt x="6857" y="3047"/>
                </a:lnTo>
                <a:lnTo>
                  <a:pt x="4063" y="4444"/>
                </a:lnTo>
                <a:lnTo>
                  <a:pt x="0" y="10159"/>
                </a:lnTo>
                <a:lnTo>
                  <a:pt x="2921" y="15747"/>
                </a:lnTo>
                <a:lnTo>
                  <a:pt x="4318" y="18541"/>
                </a:lnTo>
                <a:lnTo>
                  <a:pt x="8635" y="26924"/>
                </a:lnTo>
                <a:lnTo>
                  <a:pt x="18414" y="25272"/>
                </a:lnTo>
                <a:lnTo>
                  <a:pt x="21208" y="23875"/>
                </a:lnTo>
                <a:lnTo>
                  <a:pt x="26797" y="20954"/>
                </a:lnTo>
                <a:lnTo>
                  <a:pt x="28194" y="16763"/>
                </a:lnTo>
                <a:lnTo>
                  <a:pt x="28066" y="9651"/>
                </a:lnTo>
                <a:lnTo>
                  <a:pt x="26670" y="6857"/>
                </a:lnTo>
                <a:lnTo>
                  <a:pt x="19557" y="0"/>
                </a:lnTo>
                <a:close/>
              </a:path>
            </a:pathLst>
          </a:custGeom>
          <a:solidFill>
            <a:srgbClr val="D9D9D9"/>
          </a:solidFill>
        </p:spPr>
        <p:txBody>
          <a:bodyPr wrap="square" lIns="0" tIns="0" rIns="0" bIns="0" rtlCol="0"/>
          <a:lstStyle/>
          <a:p>
            <a:endParaRPr/>
          </a:p>
        </p:txBody>
      </p:sp>
      <p:sp>
        <p:nvSpPr>
          <p:cNvPr id="247" name="object 247"/>
          <p:cNvSpPr/>
          <p:nvPr/>
        </p:nvSpPr>
        <p:spPr>
          <a:xfrm>
            <a:off x="7550658" y="2743200"/>
            <a:ext cx="25401" cy="22860"/>
          </a:xfrm>
          <a:custGeom>
            <a:avLst/>
            <a:gdLst/>
            <a:ahLst/>
            <a:cxnLst/>
            <a:rect l="l" t="t" r="r" b="b"/>
            <a:pathLst>
              <a:path w="25400" h="22860">
                <a:moveTo>
                  <a:pt x="18034" y="0"/>
                </a:moveTo>
                <a:lnTo>
                  <a:pt x="11049" y="126"/>
                </a:lnTo>
                <a:lnTo>
                  <a:pt x="2667" y="4445"/>
                </a:lnTo>
                <a:lnTo>
                  <a:pt x="0" y="12953"/>
                </a:lnTo>
                <a:lnTo>
                  <a:pt x="1397" y="15748"/>
                </a:lnTo>
                <a:lnTo>
                  <a:pt x="8636" y="22605"/>
                </a:lnTo>
                <a:lnTo>
                  <a:pt x="15621" y="22478"/>
                </a:lnTo>
                <a:lnTo>
                  <a:pt x="24002" y="18161"/>
                </a:lnTo>
                <a:lnTo>
                  <a:pt x="25273" y="13970"/>
                </a:lnTo>
                <a:lnTo>
                  <a:pt x="25273" y="6858"/>
                </a:lnTo>
                <a:lnTo>
                  <a:pt x="23749" y="4063"/>
                </a:lnTo>
                <a:lnTo>
                  <a:pt x="18034" y="0"/>
                </a:lnTo>
                <a:close/>
              </a:path>
            </a:pathLst>
          </a:custGeom>
          <a:solidFill>
            <a:srgbClr val="D9D9D9"/>
          </a:solidFill>
        </p:spPr>
        <p:txBody>
          <a:bodyPr wrap="square" lIns="0" tIns="0" rIns="0" bIns="0" rtlCol="0"/>
          <a:lstStyle/>
          <a:p>
            <a:endParaRPr/>
          </a:p>
        </p:txBody>
      </p:sp>
      <p:sp>
        <p:nvSpPr>
          <p:cNvPr id="248" name="object 248"/>
          <p:cNvSpPr/>
          <p:nvPr/>
        </p:nvSpPr>
        <p:spPr>
          <a:xfrm>
            <a:off x="7550658" y="2743200"/>
            <a:ext cx="25401" cy="22860"/>
          </a:xfrm>
          <a:custGeom>
            <a:avLst/>
            <a:gdLst/>
            <a:ahLst/>
            <a:cxnLst/>
            <a:rect l="l" t="t" r="r" b="b"/>
            <a:pathLst>
              <a:path w="25400" h="22860">
                <a:moveTo>
                  <a:pt x="18034" y="0"/>
                </a:moveTo>
                <a:lnTo>
                  <a:pt x="11049" y="126"/>
                </a:lnTo>
                <a:lnTo>
                  <a:pt x="2667" y="4445"/>
                </a:lnTo>
                <a:lnTo>
                  <a:pt x="0" y="12953"/>
                </a:lnTo>
                <a:lnTo>
                  <a:pt x="1397" y="15748"/>
                </a:lnTo>
                <a:lnTo>
                  <a:pt x="8636" y="22605"/>
                </a:lnTo>
                <a:lnTo>
                  <a:pt x="15621" y="22478"/>
                </a:lnTo>
                <a:lnTo>
                  <a:pt x="24002" y="18161"/>
                </a:lnTo>
                <a:lnTo>
                  <a:pt x="25273" y="13970"/>
                </a:lnTo>
                <a:lnTo>
                  <a:pt x="25273" y="6858"/>
                </a:lnTo>
                <a:lnTo>
                  <a:pt x="23749" y="4063"/>
                </a:lnTo>
                <a:lnTo>
                  <a:pt x="18034" y="0"/>
                </a:lnTo>
                <a:close/>
              </a:path>
            </a:pathLst>
          </a:custGeom>
          <a:solidFill>
            <a:srgbClr val="D9D9D9"/>
          </a:solidFill>
        </p:spPr>
        <p:txBody>
          <a:bodyPr wrap="square" lIns="0" tIns="0" rIns="0" bIns="0" rtlCol="0"/>
          <a:lstStyle/>
          <a:p>
            <a:endParaRPr/>
          </a:p>
        </p:txBody>
      </p:sp>
      <p:sp>
        <p:nvSpPr>
          <p:cNvPr id="249" name="object 249"/>
          <p:cNvSpPr/>
          <p:nvPr/>
        </p:nvSpPr>
        <p:spPr>
          <a:xfrm>
            <a:off x="7603744" y="4048253"/>
            <a:ext cx="31115" cy="29845"/>
          </a:xfrm>
          <a:custGeom>
            <a:avLst/>
            <a:gdLst/>
            <a:ahLst/>
            <a:cxnLst/>
            <a:rect l="l" t="t" r="r" b="b"/>
            <a:pathLst>
              <a:path w="31115" h="29845">
                <a:moveTo>
                  <a:pt x="22351" y="0"/>
                </a:moveTo>
                <a:lnTo>
                  <a:pt x="12446" y="1524"/>
                </a:lnTo>
                <a:lnTo>
                  <a:pt x="4190" y="5842"/>
                </a:lnTo>
                <a:lnTo>
                  <a:pt x="0" y="11556"/>
                </a:lnTo>
                <a:lnTo>
                  <a:pt x="126" y="18668"/>
                </a:lnTo>
                <a:lnTo>
                  <a:pt x="1524" y="21336"/>
                </a:lnTo>
                <a:lnTo>
                  <a:pt x="8635" y="28321"/>
                </a:lnTo>
                <a:lnTo>
                  <a:pt x="19938" y="29591"/>
                </a:lnTo>
                <a:lnTo>
                  <a:pt x="22732" y="28067"/>
                </a:lnTo>
                <a:lnTo>
                  <a:pt x="26924" y="22479"/>
                </a:lnTo>
                <a:lnTo>
                  <a:pt x="30987" y="16764"/>
                </a:lnTo>
                <a:lnTo>
                  <a:pt x="28066" y="11175"/>
                </a:lnTo>
                <a:lnTo>
                  <a:pt x="26670" y="8381"/>
                </a:lnTo>
                <a:lnTo>
                  <a:pt x="22351" y="0"/>
                </a:lnTo>
                <a:close/>
              </a:path>
            </a:pathLst>
          </a:custGeom>
          <a:solidFill>
            <a:srgbClr val="D9D9D9"/>
          </a:solidFill>
        </p:spPr>
        <p:txBody>
          <a:bodyPr wrap="square" lIns="0" tIns="0" rIns="0" bIns="0" rtlCol="0"/>
          <a:lstStyle/>
          <a:p>
            <a:endParaRPr/>
          </a:p>
        </p:txBody>
      </p:sp>
      <p:sp>
        <p:nvSpPr>
          <p:cNvPr id="250" name="object 250"/>
          <p:cNvSpPr/>
          <p:nvPr/>
        </p:nvSpPr>
        <p:spPr>
          <a:xfrm>
            <a:off x="7603744" y="4048253"/>
            <a:ext cx="31115" cy="29845"/>
          </a:xfrm>
          <a:custGeom>
            <a:avLst/>
            <a:gdLst/>
            <a:ahLst/>
            <a:cxnLst/>
            <a:rect l="l" t="t" r="r" b="b"/>
            <a:pathLst>
              <a:path w="31115" h="29845">
                <a:moveTo>
                  <a:pt x="22351" y="0"/>
                </a:moveTo>
                <a:lnTo>
                  <a:pt x="12446" y="1524"/>
                </a:lnTo>
                <a:lnTo>
                  <a:pt x="4190" y="5842"/>
                </a:lnTo>
                <a:lnTo>
                  <a:pt x="0" y="11556"/>
                </a:lnTo>
                <a:lnTo>
                  <a:pt x="126" y="18668"/>
                </a:lnTo>
                <a:lnTo>
                  <a:pt x="1524" y="21336"/>
                </a:lnTo>
                <a:lnTo>
                  <a:pt x="8635" y="28321"/>
                </a:lnTo>
                <a:lnTo>
                  <a:pt x="19938" y="29591"/>
                </a:lnTo>
                <a:lnTo>
                  <a:pt x="22732" y="28067"/>
                </a:lnTo>
                <a:lnTo>
                  <a:pt x="26924" y="22479"/>
                </a:lnTo>
                <a:lnTo>
                  <a:pt x="30987" y="16764"/>
                </a:lnTo>
                <a:lnTo>
                  <a:pt x="28066" y="11175"/>
                </a:lnTo>
                <a:lnTo>
                  <a:pt x="26670" y="8381"/>
                </a:lnTo>
                <a:lnTo>
                  <a:pt x="22351" y="0"/>
                </a:lnTo>
                <a:close/>
              </a:path>
            </a:pathLst>
          </a:custGeom>
          <a:solidFill>
            <a:srgbClr val="D9D9D9"/>
          </a:solidFill>
        </p:spPr>
        <p:txBody>
          <a:bodyPr wrap="square" lIns="0" tIns="0" rIns="0" bIns="0" rtlCol="0"/>
          <a:lstStyle/>
          <a:p>
            <a:endParaRPr/>
          </a:p>
        </p:txBody>
      </p:sp>
      <p:sp>
        <p:nvSpPr>
          <p:cNvPr id="251" name="object 251"/>
          <p:cNvSpPr/>
          <p:nvPr/>
        </p:nvSpPr>
        <p:spPr>
          <a:xfrm>
            <a:off x="7720456" y="4046601"/>
            <a:ext cx="26670" cy="25400"/>
          </a:xfrm>
          <a:custGeom>
            <a:avLst/>
            <a:gdLst/>
            <a:ahLst/>
            <a:cxnLst/>
            <a:rect l="l" t="t" r="r" b="b"/>
            <a:pathLst>
              <a:path w="26670" h="25400">
                <a:moveTo>
                  <a:pt x="18034" y="0"/>
                </a:moveTo>
                <a:lnTo>
                  <a:pt x="3937" y="254"/>
                </a:lnTo>
                <a:lnTo>
                  <a:pt x="2667" y="4444"/>
                </a:lnTo>
                <a:lnTo>
                  <a:pt x="1270" y="8636"/>
                </a:lnTo>
                <a:lnTo>
                  <a:pt x="0" y="12954"/>
                </a:lnTo>
                <a:lnTo>
                  <a:pt x="2794" y="18542"/>
                </a:lnTo>
                <a:lnTo>
                  <a:pt x="8509" y="22606"/>
                </a:lnTo>
                <a:lnTo>
                  <a:pt x="17018" y="25273"/>
                </a:lnTo>
                <a:lnTo>
                  <a:pt x="19812" y="23875"/>
                </a:lnTo>
                <a:lnTo>
                  <a:pt x="23875" y="18161"/>
                </a:lnTo>
                <a:lnTo>
                  <a:pt x="25273" y="13969"/>
                </a:lnTo>
                <a:lnTo>
                  <a:pt x="26670" y="9651"/>
                </a:lnTo>
                <a:lnTo>
                  <a:pt x="25146" y="6857"/>
                </a:lnTo>
                <a:lnTo>
                  <a:pt x="18034" y="0"/>
                </a:lnTo>
                <a:close/>
              </a:path>
            </a:pathLst>
          </a:custGeom>
          <a:solidFill>
            <a:srgbClr val="D9D9D9"/>
          </a:solidFill>
        </p:spPr>
        <p:txBody>
          <a:bodyPr wrap="square" lIns="0" tIns="0" rIns="0" bIns="0" rtlCol="0"/>
          <a:lstStyle/>
          <a:p>
            <a:endParaRPr/>
          </a:p>
        </p:txBody>
      </p:sp>
      <p:sp>
        <p:nvSpPr>
          <p:cNvPr id="252" name="object 252"/>
          <p:cNvSpPr/>
          <p:nvPr/>
        </p:nvSpPr>
        <p:spPr>
          <a:xfrm>
            <a:off x="7720456" y="4046601"/>
            <a:ext cx="26670" cy="25400"/>
          </a:xfrm>
          <a:custGeom>
            <a:avLst/>
            <a:gdLst/>
            <a:ahLst/>
            <a:cxnLst/>
            <a:rect l="l" t="t" r="r" b="b"/>
            <a:pathLst>
              <a:path w="26670" h="25400">
                <a:moveTo>
                  <a:pt x="18034" y="0"/>
                </a:moveTo>
                <a:lnTo>
                  <a:pt x="3937" y="254"/>
                </a:lnTo>
                <a:lnTo>
                  <a:pt x="2667" y="4444"/>
                </a:lnTo>
                <a:lnTo>
                  <a:pt x="1270" y="8636"/>
                </a:lnTo>
                <a:lnTo>
                  <a:pt x="0" y="12954"/>
                </a:lnTo>
                <a:lnTo>
                  <a:pt x="2794" y="18542"/>
                </a:lnTo>
                <a:lnTo>
                  <a:pt x="8509" y="22606"/>
                </a:lnTo>
                <a:lnTo>
                  <a:pt x="17018" y="25273"/>
                </a:lnTo>
                <a:lnTo>
                  <a:pt x="19812" y="23875"/>
                </a:lnTo>
                <a:lnTo>
                  <a:pt x="23875" y="18161"/>
                </a:lnTo>
                <a:lnTo>
                  <a:pt x="25273" y="13969"/>
                </a:lnTo>
                <a:lnTo>
                  <a:pt x="26670" y="9651"/>
                </a:lnTo>
                <a:lnTo>
                  <a:pt x="25146" y="6857"/>
                </a:lnTo>
                <a:lnTo>
                  <a:pt x="18034" y="0"/>
                </a:lnTo>
                <a:close/>
              </a:path>
            </a:pathLst>
          </a:custGeom>
          <a:solidFill>
            <a:srgbClr val="D9D9D9"/>
          </a:solidFill>
        </p:spPr>
        <p:txBody>
          <a:bodyPr wrap="square" lIns="0" tIns="0" rIns="0" bIns="0" rtlCol="0"/>
          <a:lstStyle/>
          <a:p>
            <a:endParaRPr/>
          </a:p>
        </p:txBody>
      </p:sp>
      <p:sp>
        <p:nvSpPr>
          <p:cNvPr id="253" name="object 253"/>
          <p:cNvSpPr/>
          <p:nvPr/>
        </p:nvSpPr>
        <p:spPr>
          <a:xfrm>
            <a:off x="7832470" y="4021201"/>
            <a:ext cx="25401" cy="25400"/>
          </a:xfrm>
          <a:custGeom>
            <a:avLst/>
            <a:gdLst/>
            <a:ahLst/>
            <a:cxnLst/>
            <a:rect l="l" t="t" r="r" b="b"/>
            <a:pathLst>
              <a:path w="25400" h="25400">
                <a:moveTo>
                  <a:pt x="9651" y="0"/>
                </a:moveTo>
                <a:lnTo>
                  <a:pt x="2794" y="7112"/>
                </a:lnTo>
                <a:lnTo>
                  <a:pt x="0" y="15493"/>
                </a:lnTo>
                <a:lnTo>
                  <a:pt x="1524" y="18287"/>
                </a:lnTo>
                <a:lnTo>
                  <a:pt x="7238" y="22479"/>
                </a:lnTo>
                <a:lnTo>
                  <a:pt x="15621" y="25146"/>
                </a:lnTo>
                <a:lnTo>
                  <a:pt x="22605" y="18034"/>
                </a:lnTo>
                <a:lnTo>
                  <a:pt x="25273" y="9525"/>
                </a:lnTo>
                <a:lnTo>
                  <a:pt x="23875" y="6731"/>
                </a:lnTo>
                <a:lnTo>
                  <a:pt x="18160" y="2667"/>
                </a:lnTo>
                <a:lnTo>
                  <a:pt x="9651" y="0"/>
                </a:lnTo>
                <a:close/>
              </a:path>
            </a:pathLst>
          </a:custGeom>
          <a:solidFill>
            <a:srgbClr val="D9D9D9"/>
          </a:solidFill>
        </p:spPr>
        <p:txBody>
          <a:bodyPr wrap="square" lIns="0" tIns="0" rIns="0" bIns="0" rtlCol="0"/>
          <a:lstStyle/>
          <a:p>
            <a:endParaRPr/>
          </a:p>
        </p:txBody>
      </p:sp>
      <p:sp>
        <p:nvSpPr>
          <p:cNvPr id="254" name="object 254"/>
          <p:cNvSpPr/>
          <p:nvPr/>
        </p:nvSpPr>
        <p:spPr>
          <a:xfrm>
            <a:off x="7832470" y="4021201"/>
            <a:ext cx="25401" cy="25400"/>
          </a:xfrm>
          <a:custGeom>
            <a:avLst/>
            <a:gdLst/>
            <a:ahLst/>
            <a:cxnLst/>
            <a:rect l="l" t="t" r="r" b="b"/>
            <a:pathLst>
              <a:path w="25400" h="25400">
                <a:moveTo>
                  <a:pt x="9651" y="0"/>
                </a:moveTo>
                <a:lnTo>
                  <a:pt x="2794" y="7112"/>
                </a:lnTo>
                <a:lnTo>
                  <a:pt x="0" y="15493"/>
                </a:lnTo>
                <a:lnTo>
                  <a:pt x="1524" y="18287"/>
                </a:lnTo>
                <a:lnTo>
                  <a:pt x="7238" y="22479"/>
                </a:lnTo>
                <a:lnTo>
                  <a:pt x="15621" y="25146"/>
                </a:lnTo>
                <a:lnTo>
                  <a:pt x="22605" y="18034"/>
                </a:lnTo>
                <a:lnTo>
                  <a:pt x="25273" y="9525"/>
                </a:lnTo>
                <a:lnTo>
                  <a:pt x="23875" y="6731"/>
                </a:lnTo>
                <a:lnTo>
                  <a:pt x="18160" y="2667"/>
                </a:lnTo>
                <a:lnTo>
                  <a:pt x="9651" y="0"/>
                </a:lnTo>
                <a:close/>
              </a:path>
            </a:pathLst>
          </a:custGeom>
          <a:solidFill>
            <a:srgbClr val="D9D9D9"/>
          </a:solidFill>
        </p:spPr>
        <p:txBody>
          <a:bodyPr wrap="square" lIns="0" tIns="0" rIns="0" bIns="0" rtlCol="0"/>
          <a:lstStyle/>
          <a:p>
            <a:endParaRPr/>
          </a:p>
        </p:txBody>
      </p:sp>
      <p:sp>
        <p:nvSpPr>
          <p:cNvPr id="262" name="Title 261"/>
          <p:cNvSpPr>
            <a:spLocks noGrp="1"/>
          </p:cNvSpPr>
          <p:nvPr>
            <p:ph type="title"/>
          </p:nvPr>
        </p:nvSpPr>
        <p:spPr>
          <a:xfrm>
            <a:off x="331489" y="317820"/>
            <a:ext cx="9243021" cy="855026"/>
          </a:xfrm>
        </p:spPr>
        <p:txBody>
          <a:bodyPr/>
          <a:lstStyle/>
          <a:p>
            <a:r>
              <a:rPr lang="en-US" dirty="0"/>
              <a:t>QUIZ</a:t>
            </a:r>
          </a:p>
        </p:txBody>
      </p:sp>
      <p:sp>
        <p:nvSpPr>
          <p:cNvPr id="261" name="Content Placeholder 260"/>
          <p:cNvSpPr>
            <a:spLocks noGrp="1"/>
          </p:cNvSpPr>
          <p:nvPr>
            <p:ph idx="1"/>
          </p:nvPr>
        </p:nvSpPr>
        <p:spPr>
          <a:xfrm>
            <a:off x="323394" y="1299850"/>
            <a:ext cx="7461338" cy="4643751"/>
          </a:xfrm>
        </p:spPr>
        <p:txBody>
          <a:bodyPr/>
          <a:lstStyle/>
          <a:p>
            <a:r>
              <a:rPr lang="en-US" dirty="0"/>
              <a:t>1. Which type of database is built around both set processing and  row-at-a-time processing?</a:t>
            </a:r>
          </a:p>
          <a:p>
            <a:pPr lvl="1"/>
            <a:r>
              <a:rPr lang="en-US" dirty="0"/>
              <a:t>A. network</a:t>
            </a:r>
          </a:p>
          <a:p>
            <a:pPr lvl="1"/>
            <a:r>
              <a:rPr lang="en-US" dirty="0"/>
              <a:t>B. data mart</a:t>
            </a:r>
          </a:p>
          <a:p>
            <a:pPr lvl="1"/>
            <a:r>
              <a:rPr lang="en-US" dirty="0"/>
              <a:t>C. relational</a:t>
            </a:r>
          </a:p>
          <a:p>
            <a:pPr lvl="1"/>
            <a:r>
              <a:rPr lang="en-US" dirty="0"/>
              <a:t>D. hierarchical</a:t>
            </a:r>
          </a:p>
          <a:p>
            <a:pPr lvl="1"/>
            <a:r>
              <a:rPr lang="en-US" dirty="0"/>
              <a:t>E. inverted list</a:t>
            </a:r>
          </a:p>
          <a:p>
            <a:r>
              <a:rPr lang="en-US" dirty="0"/>
              <a:t>2.Which three are terms that are associated with star schema  and dimensional modeling? (Choose three.)</a:t>
            </a:r>
          </a:p>
          <a:p>
            <a:pPr lvl="1"/>
            <a:r>
              <a:rPr lang="en-US" dirty="0"/>
              <a:t>A. facts</a:t>
            </a:r>
          </a:p>
          <a:p>
            <a:pPr lvl="1"/>
            <a:r>
              <a:rPr lang="en-US" dirty="0"/>
              <a:t>B. entities</a:t>
            </a:r>
          </a:p>
          <a:p>
            <a:pPr lvl="1"/>
            <a:r>
              <a:rPr lang="en-US" dirty="0"/>
              <a:t>C. attributes</a:t>
            </a:r>
          </a:p>
          <a:p>
            <a:pPr lvl="1"/>
            <a:r>
              <a:rPr lang="en-US" dirty="0"/>
              <a:t>D. snowflakes</a:t>
            </a:r>
          </a:p>
          <a:p>
            <a:pPr lvl="1"/>
            <a:r>
              <a:rPr lang="en-US" dirty="0"/>
              <a:t>E. dimensions</a:t>
            </a:r>
          </a:p>
          <a:p>
            <a:pPr lvl="1"/>
            <a:r>
              <a:rPr lang="en-US" dirty="0"/>
              <a:t>F. relationships</a:t>
            </a:r>
          </a:p>
          <a:p>
            <a:endParaRPr lang="en-US" dirty="0"/>
          </a:p>
        </p:txBody>
      </p:sp>
      <p:sp>
        <p:nvSpPr>
          <p:cNvPr id="257" name="object 257"/>
          <p:cNvSpPr txBox="1"/>
          <p:nvPr/>
        </p:nvSpPr>
        <p:spPr>
          <a:xfrm>
            <a:off x="7238999" y="1676400"/>
            <a:ext cx="2063750" cy="473206"/>
          </a:xfrm>
          <a:prstGeom prst="rect">
            <a:avLst/>
          </a:prstGeom>
          <a:solidFill>
            <a:srgbClr val="588E1F"/>
          </a:solidFill>
          <a:ln w="25400">
            <a:solidFill>
              <a:srgbClr val="3E6713"/>
            </a:solidFill>
          </a:ln>
        </p:spPr>
        <p:txBody>
          <a:bodyPr vert="horz" wrap="square" lIns="0" tIns="179070" rIns="0" bIns="0" rtlCol="0">
            <a:spAutoFit/>
          </a:bodyPr>
          <a:lstStyle/>
          <a:p>
            <a:pPr marL="511175">
              <a:lnSpc>
                <a:spcPct val="100000"/>
              </a:lnSpc>
              <a:spcBef>
                <a:spcPts val="1410"/>
              </a:spcBef>
            </a:pPr>
            <a:r>
              <a:rPr sz="1900" b="1" spc="-5" dirty="0">
                <a:solidFill>
                  <a:srgbClr val="FFFFFF"/>
                </a:solidFill>
                <a:latin typeface="Arial"/>
                <a:cs typeface="Arial"/>
              </a:rPr>
              <a:t>Option</a:t>
            </a:r>
            <a:r>
              <a:rPr sz="1900" b="1" spc="-90" dirty="0">
                <a:solidFill>
                  <a:srgbClr val="FFFFFF"/>
                </a:solidFill>
                <a:latin typeface="Arial"/>
                <a:cs typeface="Arial"/>
              </a:rPr>
              <a:t> </a:t>
            </a:r>
            <a:r>
              <a:rPr sz="1900" b="1" spc="-5" dirty="0">
                <a:solidFill>
                  <a:srgbClr val="FFFFFF"/>
                </a:solidFill>
                <a:latin typeface="Arial"/>
                <a:cs typeface="Arial"/>
              </a:rPr>
              <a:t>C</a:t>
            </a:r>
            <a:endParaRPr sz="1900">
              <a:latin typeface="Arial"/>
              <a:cs typeface="Arial"/>
            </a:endParaRPr>
          </a:p>
        </p:txBody>
      </p:sp>
      <p:sp>
        <p:nvSpPr>
          <p:cNvPr id="258" name="object 258"/>
          <p:cNvSpPr txBox="1"/>
          <p:nvPr/>
        </p:nvSpPr>
        <p:spPr>
          <a:xfrm>
            <a:off x="7238999" y="4267200"/>
            <a:ext cx="2063750" cy="473848"/>
          </a:xfrm>
          <a:prstGeom prst="rect">
            <a:avLst/>
          </a:prstGeom>
          <a:solidFill>
            <a:srgbClr val="588E1F"/>
          </a:solidFill>
          <a:ln w="25400">
            <a:solidFill>
              <a:srgbClr val="3E6713"/>
            </a:solidFill>
          </a:ln>
        </p:spPr>
        <p:txBody>
          <a:bodyPr vert="horz" wrap="square" lIns="0" tIns="179705" rIns="0" bIns="0" rtlCol="0">
            <a:spAutoFit/>
          </a:bodyPr>
          <a:lstStyle/>
          <a:p>
            <a:pPr marL="281305">
              <a:lnSpc>
                <a:spcPct val="100000"/>
              </a:lnSpc>
              <a:spcBef>
                <a:spcPts val="1415"/>
              </a:spcBef>
            </a:pPr>
            <a:r>
              <a:rPr sz="1900" b="1" spc="-5" dirty="0">
                <a:solidFill>
                  <a:srgbClr val="FFFFFF"/>
                </a:solidFill>
                <a:latin typeface="Arial"/>
                <a:cs typeface="Arial"/>
              </a:rPr>
              <a:t>Option</a:t>
            </a:r>
            <a:r>
              <a:rPr sz="1900" b="1" spc="-150" dirty="0">
                <a:solidFill>
                  <a:srgbClr val="FFFFFF"/>
                </a:solidFill>
                <a:latin typeface="Arial"/>
                <a:cs typeface="Arial"/>
              </a:rPr>
              <a:t> </a:t>
            </a:r>
            <a:r>
              <a:rPr sz="1900" b="1" spc="-5" dirty="0">
                <a:solidFill>
                  <a:srgbClr val="FFFFFF"/>
                </a:solidFill>
                <a:latin typeface="Arial"/>
                <a:cs typeface="Arial"/>
              </a:rPr>
              <a:t>A,D,E</a:t>
            </a:r>
            <a:endParaRPr sz="1900">
              <a:latin typeface="Arial"/>
              <a:cs typeface="Aria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p:nvPr/>
        </p:nvSpPr>
        <p:spPr>
          <a:xfrm>
            <a:off x="45721" y="605028"/>
            <a:ext cx="106679" cy="106679"/>
          </a:xfrm>
          <a:prstGeom prst="rect">
            <a:avLst/>
          </a:prstGeom>
          <a:blipFill>
            <a:blip r:embed="rId3" cstate="print"/>
            <a:stretch>
              <a:fillRect/>
            </a:stretch>
          </a:blipFill>
        </p:spPr>
        <p:txBody>
          <a:bodyPr wrap="square" lIns="0" tIns="0" rIns="0" bIns="0" rtlCol="0"/>
          <a:lstStyle/>
          <a:p>
            <a:endParaRPr/>
          </a:p>
        </p:txBody>
      </p:sp>
      <p:sp>
        <p:nvSpPr>
          <p:cNvPr id="4" name="object 4"/>
          <p:cNvSpPr/>
          <p:nvPr/>
        </p:nvSpPr>
        <p:spPr>
          <a:xfrm>
            <a:off x="0" y="438151"/>
            <a:ext cx="9906000" cy="727075"/>
          </a:xfrm>
          <a:custGeom>
            <a:avLst/>
            <a:gdLst/>
            <a:ahLst/>
            <a:cxnLst/>
            <a:rect l="l" t="t" r="r" b="b"/>
            <a:pathLst>
              <a:path w="9906000" h="727075">
                <a:moveTo>
                  <a:pt x="0" y="329819"/>
                </a:moveTo>
                <a:lnTo>
                  <a:pt x="0" y="397255"/>
                </a:lnTo>
                <a:lnTo>
                  <a:pt x="234454" y="448790"/>
                </a:lnTo>
                <a:lnTo>
                  <a:pt x="381639" y="562165"/>
                </a:lnTo>
                <a:lnTo>
                  <a:pt x="457937" y="675540"/>
                </a:lnTo>
                <a:lnTo>
                  <a:pt x="479729" y="727075"/>
                </a:lnTo>
                <a:lnTo>
                  <a:pt x="501416" y="663194"/>
                </a:lnTo>
                <a:lnTo>
                  <a:pt x="479729" y="663194"/>
                </a:lnTo>
                <a:lnTo>
                  <a:pt x="415048" y="470461"/>
                </a:lnTo>
                <a:lnTo>
                  <a:pt x="343515" y="371490"/>
                </a:lnTo>
                <a:lnTo>
                  <a:pt x="220158" y="335027"/>
                </a:lnTo>
                <a:lnTo>
                  <a:pt x="0" y="329819"/>
                </a:lnTo>
                <a:close/>
              </a:path>
              <a:path w="9906000" h="727075">
                <a:moveTo>
                  <a:pt x="537167" y="557883"/>
                </a:moveTo>
                <a:lnTo>
                  <a:pt x="501571" y="611104"/>
                </a:lnTo>
                <a:lnTo>
                  <a:pt x="479729" y="663194"/>
                </a:lnTo>
                <a:lnTo>
                  <a:pt x="501416" y="663194"/>
                </a:lnTo>
                <a:lnTo>
                  <a:pt x="537167" y="557883"/>
                </a:lnTo>
                <a:close/>
              </a:path>
              <a:path w="9906000" h="727075">
                <a:moveTo>
                  <a:pt x="675359" y="421356"/>
                </a:moveTo>
                <a:lnTo>
                  <a:pt x="616342" y="438483"/>
                </a:lnTo>
                <a:lnTo>
                  <a:pt x="544461" y="536398"/>
                </a:lnTo>
                <a:lnTo>
                  <a:pt x="537167" y="557883"/>
                </a:lnTo>
                <a:lnTo>
                  <a:pt x="578218" y="496506"/>
                </a:lnTo>
                <a:lnTo>
                  <a:pt x="675359" y="421356"/>
                </a:lnTo>
                <a:close/>
              </a:path>
              <a:path w="9906000" h="727075">
                <a:moveTo>
                  <a:pt x="9710543" y="304809"/>
                </a:moveTo>
                <a:lnTo>
                  <a:pt x="9641949" y="324665"/>
                </a:lnTo>
                <a:lnTo>
                  <a:pt x="9419971" y="329819"/>
                </a:lnTo>
                <a:lnTo>
                  <a:pt x="962647" y="329819"/>
                </a:lnTo>
                <a:lnTo>
                  <a:pt x="726349" y="381908"/>
                </a:lnTo>
                <a:lnTo>
                  <a:pt x="675359" y="421356"/>
                </a:lnTo>
                <a:lnTo>
                  <a:pt x="740646" y="402409"/>
                </a:lnTo>
                <a:lnTo>
                  <a:pt x="962647" y="397255"/>
                </a:lnTo>
                <a:lnTo>
                  <a:pt x="9419971" y="397255"/>
                </a:lnTo>
                <a:lnTo>
                  <a:pt x="9656700" y="345721"/>
                </a:lnTo>
                <a:lnTo>
                  <a:pt x="9710543" y="304809"/>
                </a:lnTo>
                <a:close/>
              </a:path>
              <a:path w="9906000" h="727075">
                <a:moveTo>
                  <a:pt x="9844501" y="176066"/>
                </a:moveTo>
                <a:lnTo>
                  <a:pt x="9805908" y="232346"/>
                </a:lnTo>
                <a:lnTo>
                  <a:pt x="9710543" y="304809"/>
                </a:lnTo>
                <a:lnTo>
                  <a:pt x="9766569" y="288591"/>
                </a:lnTo>
                <a:lnTo>
                  <a:pt x="9839398" y="190676"/>
                </a:lnTo>
                <a:lnTo>
                  <a:pt x="9844501" y="176066"/>
                </a:lnTo>
                <a:close/>
              </a:path>
              <a:path w="9906000" h="727075">
                <a:moveTo>
                  <a:pt x="9906000" y="0"/>
                </a:moveTo>
                <a:lnTo>
                  <a:pt x="9844501" y="176066"/>
                </a:lnTo>
                <a:lnTo>
                  <a:pt x="9883653" y="118971"/>
                </a:lnTo>
                <a:lnTo>
                  <a:pt x="9906000" y="67437"/>
                </a:lnTo>
                <a:lnTo>
                  <a:pt x="9906000" y="0"/>
                </a:lnTo>
                <a:close/>
              </a:path>
            </a:pathLst>
          </a:custGeom>
          <a:solidFill>
            <a:srgbClr val="0097C6"/>
          </a:solidFill>
        </p:spPr>
        <p:txBody>
          <a:bodyPr wrap="square" lIns="0" tIns="0" rIns="0" bIns="0" rtlCol="0"/>
          <a:lstStyle/>
          <a:p>
            <a:endParaRPr/>
          </a:p>
        </p:txBody>
      </p:sp>
      <p:sp>
        <p:nvSpPr>
          <p:cNvPr id="5" name="object 5"/>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lstStyle/>
          <a:p>
            <a:endParaRPr/>
          </a:p>
        </p:txBody>
      </p:sp>
      <p:sp>
        <p:nvSpPr>
          <p:cNvPr id="6" name="object 6"/>
          <p:cNvSpPr/>
          <p:nvPr/>
        </p:nvSpPr>
        <p:spPr>
          <a:xfrm>
            <a:off x="349252" y="6456361"/>
            <a:ext cx="1362075" cy="315912"/>
          </a:xfrm>
          <a:prstGeom prst="rect">
            <a:avLst/>
          </a:prstGeom>
          <a:blipFill>
            <a:blip r:embed="rId4" cstate="print"/>
            <a:stretch>
              <a:fillRect/>
            </a:stretch>
          </a:blipFill>
        </p:spPr>
        <p:txBody>
          <a:bodyPr wrap="square" lIns="0" tIns="0" rIns="0" bIns="0" rtlCol="0"/>
          <a:lstStyle/>
          <a:p>
            <a:endParaRPr/>
          </a:p>
        </p:txBody>
      </p:sp>
      <p:sp>
        <p:nvSpPr>
          <p:cNvPr id="7" name="object 7"/>
          <p:cNvSpPr/>
          <p:nvPr/>
        </p:nvSpPr>
        <p:spPr>
          <a:xfrm>
            <a:off x="9445752" y="4098417"/>
            <a:ext cx="191135" cy="191135"/>
          </a:xfrm>
          <a:custGeom>
            <a:avLst/>
            <a:gdLst/>
            <a:ahLst/>
            <a:cxnLst/>
            <a:rect l="l" t="t" r="r" b="b"/>
            <a:pathLst>
              <a:path w="191134" h="191135">
                <a:moveTo>
                  <a:pt x="104140" y="0"/>
                </a:moveTo>
                <a:lnTo>
                  <a:pt x="52197" y="9270"/>
                </a:lnTo>
                <a:lnTo>
                  <a:pt x="23114" y="34924"/>
                </a:lnTo>
                <a:lnTo>
                  <a:pt x="0" y="85851"/>
                </a:lnTo>
                <a:lnTo>
                  <a:pt x="1650" y="102742"/>
                </a:lnTo>
                <a:lnTo>
                  <a:pt x="10541" y="140588"/>
                </a:lnTo>
                <a:lnTo>
                  <a:pt x="47751" y="177926"/>
                </a:lnTo>
                <a:lnTo>
                  <a:pt x="85851" y="189991"/>
                </a:lnTo>
                <a:lnTo>
                  <a:pt x="104140" y="191134"/>
                </a:lnTo>
                <a:lnTo>
                  <a:pt x="123698" y="188086"/>
                </a:lnTo>
                <a:lnTo>
                  <a:pt x="168275" y="157860"/>
                </a:lnTo>
                <a:lnTo>
                  <a:pt x="186054" y="123951"/>
                </a:lnTo>
                <a:lnTo>
                  <a:pt x="191134" y="85851"/>
                </a:lnTo>
                <a:lnTo>
                  <a:pt x="189483" y="69087"/>
                </a:lnTo>
                <a:lnTo>
                  <a:pt x="157861" y="21716"/>
                </a:lnTo>
                <a:lnTo>
                  <a:pt x="123825" y="3936"/>
                </a:lnTo>
                <a:lnTo>
                  <a:pt x="104140" y="0"/>
                </a:lnTo>
                <a:close/>
              </a:path>
            </a:pathLst>
          </a:custGeom>
          <a:solidFill>
            <a:srgbClr val="D9D9D9"/>
          </a:solidFill>
        </p:spPr>
        <p:txBody>
          <a:bodyPr wrap="square" lIns="0" tIns="0" rIns="0" bIns="0" rtlCol="0"/>
          <a:lstStyle/>
          <a:p>
            <a:endParaRPr/>
          </a:p>
        </p:txBody>
      </p:sp>
      <p:sp>
        <p:nvSpPr>
          <p:cNvPr id="8" name="object 8"/>
          <p:cNvSpPr/>
          <p:nvPr/>
        </p:nvSpPr>
        <p:spPr>
          <a:xfrm>
            <a:off x="9445752" y="4098417"/>
            <a:ext cx="191135" cy="191135"/>
          </a:xfrm>
          <a:custGeom>
            <a:avLst/>
            <a:gdLst/>
            <a:ahLst/>
            <a:cxnLst/>
            <a:rect l="l" t="t" r="r" b="b"/>
            <a:pathLst>
              <a:path w="191134" h="191135">
                <a:moveTo>
                  <a:pt x="104140" y="0"/>
                </a:moveTo>
                <a:lnTo>
                  <a:pt x="52197" y="9270"/>
                </a:lnTo>
                <a:lnTo>
                  <a:pt x="23114" y="34924"/>
                </a:lnTo>
                <a:lnTo>
                  <a:pt x="0" y="85851"/>
                </a:lnTo>
                <a:lnTo>
                  <a:pt x="1650" y="102742"/>
                </a:lnTo>
                <a:lnTo>
                  <a:pt x="10541" y="140588"/>
                </a:lnTo>
                <a:lnTo>
                  <a:pt x="47751" y="177926"/>
                </a:lnTo>
                <a:lnTo>
                  <a:pt x="85851" y="189991"/>
                </a:lnTo>
                <a:lnTo>
                  <a:pt x="104140" y="191134"/>
                </a:lnTo>
                <a:lnTo>
                  <a:pt x="123698" y="188086"/>
                </a:lnTo>
                <a:lnTo>
                  <a:pt x="168275" y="157860"/>
                </a:lnTo>
                <a:lnTo>
                  <a:pt x="186054" y="123951"/>
                </a:lnTo>
                <a:lnTo>
                  <a:pt x="191134" y="85851"/>
                </a:lnTo>
                <a:lnTo>
                  <a:pt x="189483" y="69087"/>
                </a:lnTo>
                <a:lnTo>
                  <a:pt x="157861" y="21716"/>
                </a:lnTo>
                <a:lnTo>
                  <a:pt x="123825" y="3936"/>
                </a:lnTo>
                <a:lnTo>
                  <a:pt x="104140" y="0"/>
                </a:lnTo>
                <a:close/>
              </a:path>
            </a:pathLst>
          </a:custGeom>
          <a:solidFill>
            <a:srgbClr val="D9D9D9"/>
          </a:solidFill>
        </p:spPr>
        <p:txBody>
          <a:bodyPr wrap="square" lIns="0" tIns="0" rIns="0" bIns="0" rtlCol="0"/>
          <a:lstStyle/>
          <a:p>
            <a:endParaRPr/>
          </a:p>
        </p:txBody>
      </p:sp>
      <p:sp>
        <p:nvSpPr>
          <p:cNvPr id="9" name="object 9"/>
          <p:cNvSpPr/>
          <p:nvPr/>
        </p:nvSpPr>
        <p:spPr>
          <a:xfrm>
            <a:off x="9290431" y="4424172"/>
            <a:ext cx="171450" cy="172085"/>
          </a:xfrm>
          <a:custGeom>
            <a:avLst/>
            <a:gdLst/>
            <a:ahLst/>
            <a:cxnLst/>
            <a:rect l="l" t="t" r="r" b="b"/>
            <a:pathLst>
              <a:path w="171450" h="172085">
                <a:moveTo>
                  <a:pt x="95630" y="0"/>
                </a:moveTo>
                <a:lnTo>
                  <a:pt x="31242" y="19176"/>
                </a:lnTo>
                <a:lnTo>
                  <a:pt x="3683" y="61848"/>
                </a:lnTo>
                <a:lnTo>
                  <a:pt x="0" y="95630"/>
                </a:lnTo>
                <a:lnTo>
                  <a:pt x="8890" y="126364"/>
                </a:lnTo>
                <a:lnTo>
                  <a:pt x="44576" y="161035"/>
                </a:lnTo>
                <a:lnTo>
                  <a:pt x="78486" y="171703"/>
                </a:lnTo>
                <a:lnTo>
                  <a:pt x="92455" y="171576"/>
                </a:lnTo>
                <a:lnTo>
                  <a:pt x="109347" y="169925"/>
                </a:lnTo>
                <a:lnTo>
                  <a:pt x="140080" y="153923"/>
                </a:lnTo>
                <a:lnTo>
                  <a:pt x="151129" y="141096"/>
                </a:lnTo>
                <a:lnTo>
                  <a:pt x="162178" y="128396"/>
                </a:lnTo>
                <a:lnTo>
                  <a:pt x="167513" y="111378"/>
                </a:lnTo>
                <a:lnTo>
                  <a:pt x="170052" y="95884"/>
                </a:lnTo>
                <a:lnTo>
                  <a:pt x="171196" y="77596"/>
                </a:lnTo>
                <a:lnTo>
                  <a:pt x="162305" y="46862"/>
                </a:lnTo>
                <a:lnTo>
                  <a:pt x="152273" y="34289"/>
                </a:lnTo>
                <a:lnTo>
                  <a:pt x="142240" y="21843"/>
                </a:lnTo>
                <a:lnTo>
                  <a:pt x="126619" y="12191"/>
                </a:lnTo>
                <a:lnTo>
                  <a:pt x="112522" y="5333"/>
                </a:lnTo>
                <a:lnTo>
                  <a:pt x="95630" y="0"/>
                </a:lnTo>
                <a:close/>
              </a:path>
            </a:pathLst>
          </a:custGeom>
          <a:solidFill>
            <a:srgbClr val="D9D9D9"/>
          </a:solidFill>
        </p:spPr>
        <p:txBody>
          <a:bodyPr wrap="square" lIns="0" tIns="0" rIns="0" bIns="0" rtlCol="0"/>
          <a:lstStyle/>
          <a:p>
            <a:endParaRPr/>
          </a:p>
        </p:txBody>
      </p:sp>
      <p:sp>
        <p:nvSpPr>
          <p:cNvPr id="10" name="object 10"/>
          <p:cNvSpPr/>
          <p:nvPr/>
        </p:nvSpPr>
        <p:spPr>
          <a:xfrm>
            <a:off x="9290431" y="4424172"/>
            <a:ext cx="171450" cy="172085"/>
          </a:xfrm>
          <a:custGeom>
            <a:avLst/>
            <a:gdLst/>
            <a:ahLst/>
            <a:cxnLst/>
            <a:rect l="l" t="t" r="r" b="b"/>
            <a:pathLst>
              <a:path w="171450" h="172085">
                <a:moveTo>
                  <a:pt x="95630" y="0"/>
                </a:moveTo>
                <a:lnTo>
                  <a:pt x="31242" y="19176"/>
                </a:lnTo>
                <a:lnTo>
                  <a:pt x="3683" y="61848"/>
                </a:lnTo>
                <a:lnTo>
                  <a:pt x="0" y="95630"/>
                </a:lnTo>
                <a:lnTo>
                  <a:pt x="8890" y="126364"/>
                </a:lnTo>
                <a:lnTo>
                  <a:pt x="44576" y="161035"/>
                </a:lnTo>
                <a:lnTo>
                  <a:pt x="78486" y="171703"/>
                </a:lnTo>
                <a:lnTo>
                  <a:pt x="92455" y="171576"/>
                </a:lnTo>
                <a:lnTo>
                  <a:pt x="109347" y="169925"/>
                </a:lnTo>
                <a:lnTo>
                  <a:pt x="140080" y="153923"/>
                </a:lnTo>
                <a:lnTo>
                  <a:pt x="151129" y="141096"/>
                </a:lnTo>
                <a:lnTo>
                  <a:pt x="162178" y="128396"/>
                </a:lnTo>
                <a:lnTo>
                  <a:pt x="167513" y="111378"/>
                </a:lnTo>
                <a:lnTo>
                  <a:pt x="170052" y="95884"/>
                </a:lnTo>
                <a:lnTo>
                  <a:pt x="171196" y="77596"/>
                </a:lnTo>
                <a:lnTo>
                  <a:pt x="162305" y="46862"/>
                </a:lnTo>
                <a:lnTo>
                  <a:pt x="152273" y="34289"/>
                </a:lnTo>
                <a:lnTo>
                  <a:pt x="142240" y="21843"/>
                </a:lnTo>
                <a:lnTo>
                  <a:pt x="126619" y="12191"/>
                </a:lnTo>
                <a:lnTo>
                  <a:pt x="112522" y="5333"/>
                </a:lnTo>
                <a:lnTo>
                  <a:pt x="95630" y="0"/>
                </a:lnTo>
                <a:close/>
              </a:path>
            </a:pathLst>
          </a:custGeom>
          <a:solidFill>
            <a:srgbClr val="D9D9D9"/>
          </a:solidFill>
        </p:spPr>
        <p:txBody>
          <a:bodyPr wrap="square" lIns="0" tIns="0" rIns="0" bIns="0" rtlCol="0"/>
          <a:lstStyle/>
          <a:p>
            <a:endParaRPr/>
          </a:p>
        </p:txBody>
      </p:sp>
      <p:sp>
        <p:nvSpPr>
          <p:cNvPr id="11" name="object 11"/>
          <p:cNvSpPr/>
          <p:nvPr/>
        </p:nvSpPr>
        <p:spPr>
          <a:xfrm>
            <a:off x="9082279" y="4715890"/>
            <a:ext cx="153670" cy="156210"/>
          </a:xfrm>
          <a:custGeom>
            <a:avLst/>
            <a:gdLst/>
            <a:ahLst/>
            <a:cxnLst/>
            <a:rect l="l" t="t" r="r" b="b"/>
            <a:pathLst>
              <a:path w="153670" h="156210">
                <a:moveTo>
                  <a:pt x="69088" y="0"/>
                </a:moveTo>
                <a:lnTo>
                  <a:pt x="53721" y="4444"/>
                </a:lnTo>
                <a:lnTo>
                  <a:pt x="28575" y="17398"/>
                </a:lnTo>
                <a:lnTo>
                  <a:pt x="16001" y="27431"/>
                </a:lnTo>
                <a:lnTo>
                  <a:pt x="9271" y="41655"/>
                </a:lnTo>
                <a:lnTo>
                  <a:pt x="2413" y="55752"/>
                </a:lnTo>
                <a:lnTo>
                  <a:pt x="18" y="70357"/>
                </a:lnTo>
                <a:lnTo>
                  <a:pt x="0" y="85343"/>
                </a:lnTo>
                <a:lnTo>
                  <a:pt x="253" y="99313"/>
                </a:lnTo>
                <a:lnTo>
                  <a:pt x="14731" y="127253"/>
                </a:lnTo>
                <a:lnTo>
                  <a:pt x="26162" y="135508"/>
                </a:lnTo>
                <a:lnTo>
                  <a:pt x="38862" y="146557"/>
                </a:lnTo>
                <a:lnTo>
                  <a:pt x="68579" y="155955"/>
                </a:lnTo>
                <a:lnTo>
                  <a:pt x="82676" y="155828"/>
                </a:lnTo>
                <a:lnTo>
                  <a:pt x="113411" y="146938"/>
                </a:lnTo>
                <a:lnTo>
                  <a:pt x="123190" y="138302"/>
                </a:lnTo>
                <a:lnTo>
                  <a:pt x="135636" y="128269"/>
                </a:lnTo>
                <a:lnTo>
                  <a:pt x="143891" y="116966"/>
                </a:lnTo>
                <a:lnTo>
                  <a:pt x="149225" y="99948"/>
                </a:lnTo>
                <a:lnTo>
                  <a:pt x="153289" y="87248"/>
                </a:lnTo>
                <a:lnTo>
                  <a:pt x="151638" y="70357"/>
                </a:lnTo>
                <a:lnTo>
                  <a:pt x="151383" y="56387"/>
                </a:lnTo>
                <a:lnTo>
                  <a:pt x="144145" y="42417"/>
                </a:lnTo>
                <a:lnTo>
                  <a:pt x="137032" y="28447"/>
                </a:lnTo>
                <a:lnTo>
                  <a:pt x="114173" y="11937"/>
                </a:lnTo>
                <a:lnTo>
                  <a:pt x="100075" y="5079"/>
                </a:lnTo>
                <a:lnTo>
                  <a:pt x="69088" y="0"/>
                </a:lnTo>
                <a:close/>
              </a:path>
            </a:pathLst>
          </a:custGeom>
          <a:solidFill>
            <a:srgbClr val="D9D9D9"/>
          </a:solidFill>
        </p:spPr>
        <p:txBody>
          <a:bodyPr wrap="square" lIns="0" tIns="0" rIns="0" bIns="0" rtlCol="0"/>
          <a:lstStyle/>
          <a:p>
            <a:endParaRPr/>
          </a:p>
        </p:txBody>
      </p:sp>
      <p:sp>
        <p:nvSpPr>
          <p:cNvPr id="12" name="object 12"/>
          <p:cNvSpPr/>
          <p:nvPr/>
        </p:nvSpPr>
        <p:spPr>
          <a:xfrm>
            <a:off x="9082279" y="4715890"/>
            <a:ext cx="153670" cy="156210"/>
          </a:xfrm>
          <a:custGeom>
            <a:avLst/>
            <a:gdLst/>
            <a:ahLst/>
            <a:cxnLst/>
            <a:rect l="l" t="t" r="r" b="b"/>
            <a:pathLst>
              <a:path w="153670" h="156210">
                <a:moveTo>
                  <a:pt x="69088" y="0"/>
                </a:moveTo>
                <a:lnTo>
                  <a:pt x="53721" y="4444"/>
                </a:lnTo>
                <a:lnTo>
                  <a:pt x="28575" y="17398"/>
                </a:lnTo>
                <a:lnTo>
                  <a:pt x="16001" y="27431"/>
                </a:lnTo>
                <a:lnTo>
                  <a:pt x="9271" y="41655"/>
                </a:lnTo>
                <a:lnTo>
                  <a:pt x="2413" y="55752"/>
                </a:lnTo>
                <a:lnTo>
                  <a:pt x="18" y="70357"/>
                </a:lnTo>
                <a:lnTo>
                  <a:pt x="0" y="85343"/>
                </a:lnTo>
                <a:lnTo>
                  <a:pt x="253" y="99313"/>
                </a:lnTo>
                <a:lnTo>
                  <a:pt x="14731" y="127253"/>
                </a:lnTo>
                <a:lnTo>
                  <a:pt x="26162" y="135508"/>
                </a:lnTo>
                <a:lnTo>
                  <a:pt x="38862" y="146557"/>
                </a:lnTo>
                <a:lnTo>
                  <a:pt x="68579" y="155955"/>
                </a:lnTo>
                <a:lnTo>
                  <a:pt x="82676" y="155828"/>
                </a:lnTo>
                <a:lnTo>
                  <a:pt x="113411" y="146938"/>
                </a:lnTo>
                <a:lnTo>
                  <a:pt x="123190" y="138302"/>
                </a:lnTo>
                <a:lnTo>
                  <a:pt x="135636" y="128269"/>
                </a:lnTo>
                <a:lnTo>
                  <a:pt x="143891" y="116966"/>
                </a:lnTo>
                <a:lnTo>
                  <a:pt x="149225" y="99948"/>
                </a:lnTo>
                <a:lnTo>
                  <a:pt x="153289" y="87248"/>
                </a:lnTo>
                <a:lnTo>
                  <a:pt x="151638" y="70357"/>
                </a:lnTo>
                <a:lnTo>
                  <a:pt x="151383" y="56387"/>
                </a:lnTo>
                <a:lnTo>
                  <a:pt x="144145" y="42417"/>
                </a:lnTo>
                <a:lnTo>
                  <a:pt x="137032" y="28447"/>
                </a:lnTo>
                <a:lnTo>
                  <a:pt x="114173" y="11937"/>
                </a:lnTo>
                <a:lnTo>
                  <a:pt x="100075" y="5079"/>
                </a:lnTo>
                <a:lnTo>
                  <a:pt x="69088" y="0"/>
                </a:lnTo>
                <a:close/>
              </a:path>
            </a:pathLst>
          </a:custGeom>
          <a:solidFill>
            <a:srgbClr val="D9D9D9"/>
          </a:solidFill>
        </p:spPr>
        <p:txBody>
          <a:bodyPr wrap="square" lIns="0" tIns="0" rIns="0" bIns="0" rtlCol="0"/>
          <a:lstStyle/>
          <a:p>
            <a:endParaRPr/>
          </a:p>
        </p:txBody>
      </p:sp>
      <p:sp>
        <p:nvSpPr>
          <p:cNvPr id="13" name="object 13"/>
          <p:cNvSpPr/>
          <p:nvPr/>
        </p:nvSpPr>
        <p:spPr>
          <a:xfrm>
            <a:off x="8824215" y="4965572"/>
            <a:ext cx="139699" cy="139700"/>
          </a:xfrm>
          <a:custGeom>
            <a:avLst/>
            <a:gdLst/>
            <a:ahLst/>
            <a:cxnLst/>
            <a:rect l="l" t="t" r="r" b="b"/>
            <a:pathLst>
              <a:path w="139700" h="139700">
                <a:moveTo>
                  <a:pt x="77850" y="0"/>
                </a:moveTo>
                <a:lnTo>
                  <a:pt x="38480" y="6222"/>
                </a:lnTo>
                <a:lnTo>
                  <a:pt x="10794" y="34670"/>
                </a:lnTo>
                <a:lnTo>
                  <a:pt x="0" y="61594"/>
                </a:lnTo>
                <a:lnTo>
                  <a:pt x="253" y="75564"/>
                </a:lnTo>
                <a:lnTo>
                  <a:pt x="16255" y="113283"/>
                </a:lnTo>
                <a:lnTo>
                  <a:pt x="48894" y="135381"/>
                </a:lnTo>
                <a:lnTo>
                  <a:pt x="75691" y="139191"/>
                </a:lnTo>
                <a:lnTo>
                  <a:pt x="88264" y="136144"/>
                </a:lnTo>
                <a:lnTo>
                  <a:pt x="123062" y="114553"/>
                </a:lnTo>
                <a:lnTo>
                  <a:pt x="135381" y="90424"/>
                </a:lnTo>
                <a:lnTo>
                  <a:pt x="139445" y="77724"/>
                </a:lnTo>
                <a:lnTo>
                  <a:pt x="139191" y="63753"/>
                </a:lnTo>
                <a:lnTo>
                  <a:pt x="136143" y="51053"/>
                </a:lnTo>
                <a:lnTo>
                  <a:pt x="133222" y="38481"/>
                </a:lnTo>
                <a:lnTo>
                  <a:pt x="123189" y="26034"/>
                </a:lnTo>
                <a:lnTo>
                  <a:pt x="114553" y="16256"/>
                </a:lnTo>
                <a:lnTo>
                  <a:pt x="103250" y="8000"/>
                </a:lnTo>
                <a:lnTo>
                  <a:pt x="90550" y="3937"/>
                </a:lnTo>
                <a:lnTo>
                  <a:pt x="77850" y="0"/>
                </a:lnTo>
                <a:close/>
              </a:path>
            </a:pathLst>
          </a:custGeom>
          <a:solidFill>
            <a:srgbClr val="D9D9D9"/>
          </a:solidFill>
        </p:spPr>
        <p:txBody>
          <a:bodyPr wrap="square" lIns="0" tIns="0" rIns="0" bIns="0" rtlCol="0"/>
          <a:lstStyle/>
          <a:p>
            <a:endParaRPr/>
          </a:p>
        </p:txBody>
      </p:sp>
      <p:sp>
        <p:nvSpPr>
          <p:cNvPr id="14" name="object 14"/>
          <p:cNvSpPr/>
          <p:nvPr/>
        </p:nvSpPr>
        <p:spPr>
          <a:xfrm>
            <a:off x="8824215" y="4965572"/>
            <a:ext cx="139699" cy="139700"/>
          </a:xfrm>
          <a:custGeom>
            <a:avLst/>
            <a:gdLst/>
            <a:ahLst/>
            <a:cxnLst/>
            <a:rect l="l" t="t" r="r" b="b"/>
            <a:pathLst>
              <a:path w="139700" h="139700">
                <a:moveTo>
                  <a:pt x="77850" y="0"/>
                </a:moveTo>
                <a:lnTo>
                  <a:pt x="38480" y="6222"/>
                </a:lnTo>
                <a:lnTo>
                  <a:pt x="10794" y="34670"/>
                </a:lnTo>
                <a:lnTo>
                  <a:pt x="0" y="61594"/>
                </a:lnTo>
                <a:lnTo>
                  <a:pt x="253" y="75564"/>
                </a:lnTo>
                <a:lnTo>
                  <a:pt x="16255" y="113283"/>
                </a:lnTo>
                <a:lnTo>
                  <a:pt x="48894" y="135381"/>
                </a:lnTo>
                <a:lnTo>
                  <a:pt x="75691" y="139191"/>
                </a:lnTo>
                <a:lnTo>
                  <a:pt x="88264" y="136144"/>
                </a:lnTo>
                <a:lnTo>
                  <a:pt x="123062" y="114553"/>
                </a:lnTo>
                <a:lnTo>
                  <a:pt x="135381" y="90424"/>
                </a:lnTo>
                <a:lnTo>
                  <a:pt x="139445" y="77724"/>
                </a:lnTo>
                <a:lnTo>
                  <a:pt x="139191" y="63753"/>
                </a:lnTo>
                <a:lnTo>
                  <a:pt x="136143" y="51053"/>
                </a:lnTo>
                <a:lnTo>
                  <a:pt x="133222" y="38481"/>
                </a:lnTo>
                <a:lnTo>
                  <a:pt x="123189" y="26034"/>
                </a:lnTo>
                <a:lnTo>
                  <a:pt x="114553" y="16256"/>
                </a:lnTo>
                <a:lnTo>
                  <a:pt x="103250" y="8000"/>
                </a:lnTo>
                <a:lnTo>
                  <a:pt x="90550" y="3937"/>
                </a:lnTo>
                <a:lnTo>
                  <a:pt x="77850" y="0"/>
                </a:lnTo>
                <a:close/>
              </a:path>
            </a:pathLst>
          </a:custGeom>
          <a:solidFill>
            <a:srgbClr val="D9D9D9"/>
          </a:solidFill>
        </p:spPr>
        <p:txBody>
          <a:bodyPr wrap="square" lIns="0" tIns="0" rIns="0" bIns="0" rtlCol="0"/>
          <a:lstStyle/>
          <a:p>
            <a:endParaRPr/>
          </a:p>
        </p:txBody>
      </p:sp>
      <p:sp>
        <p:nvSpPr>
          <p:cNvPr id="15" name="object 15"/>
          <p:cNvSpPr/>
          <p:nvPr/>
        </p:nvSpPr>
        <p:spPr>
          <a:xfrm>
            <a:off x="8530717" y="5164202"/>
            <a:ext cx="125095" cy="125095"/>
          </a:xfrm>
          <a:custGeom>
            <a:avLst/>
            <a:gdLst/>
            <a:ahLst/>
            <a:cxnLst/>
            <a:rect l="l" t="t" r="r" b="b"/>
            <a:pathLst>
              <a:path w="125095" h="125095">
                <a:moveTo>
                  <a:pt x="56514" y="0"/>
                </a:moveTo>
                <a:lnTo>
                  <a:pt x="14731" y="21717"/>
                </a:lnTo>
                <a:lnTo>
                  <a:pt x="1015" y="43053"/>
                </a:lnTo>
                <a:lnTo>
                  <a:pt x="1142" y="57023"/>
                </a:lnTo>
                <a:lnTo>
                  <a:pt x="0" y="68326"/>
                </a:lnTo>
                <a:lnTo>
                  <a:pt x="21589" y="110109"/>
                </a:lnTo>
                <a:lnTo>
                  <a:pt x="31623" y="115697"/>
                </a:lnTo>
                <a:lnTo>
                  <a:pt x="42925" y="123952"/>
                </a:lnTo>
                <a:lnTo>
                  <a:pt x="54228" y="125095"/>
                </a:lnTo>
                <a:lnTo>
                  <a:pt x="68199" y="124968"/>
                </a:lnTo>
                <a:lnTo>
                  <a:pt x="80899" y="121920"/>
                </a:lnTo>
                <a:lnTo>
                  <a:pt x="121030" y="83439"/>
                </a:lnTo>
                <a:lnTo>
                  <a:pt x="124840" y="56642"/>
                </a:lnTo>
                <a:lnTo>
                  <a:pt x="121919" y="44068"/>
                </a:lnTo>
                <a:lnTo>
                  <a:pt x="116077" y="32893"/>
                </a:lnTo>
                <a:lnTo>
                  <a:pt x="111759" y="24511"/>
                </a:lnTo>
                <a:lnTo>
                  <a:pt x="103124" y="14731"/>
                </a:lnTo>
                <a:lnTo>
                  <a:pt x="93217" y="9271"/>
                </a:lnTo>
                <a:lnTo>
                  <a:pt x="79121" y="2540"/>
                </a:lnTo>
                <a:lnTo>
                  <a:pt x="56514" y="0"/>
                </a:lnTo>
                <a:close/>
              </a:path>
            </a:pathLst>
          </a:custGeom>
          <a:solidFill>
            <a:srgbClr val="D9D9D9"/>
          </a:solidFill>
        </p:spPr>
        <p:txBody>
          <a:bodyPr wrap="square" lIns="0" tIns="0" rIns="0" bIns="0" rtlCol="0"/>
          <a:lstStyle/>
          <a:p>
            <a:endParaRPr/>
          </a:p>
        </p:txBody>
      </p:sp>
      <p:sp>
        <p:nvSpPr>
          <p:cNvPr id="16" name="object 16"/>
          <p:cNvSpPr/>
          <p:nvPr/>
        </p:nvSpPr>
        <p:spPr>
          <a:xfrm>
            <a:off x="8530717" y="5164202"/>
            <a:ext cx="125095" cy="125095"/>
          </a:xfrm>
          <a:custGeom>
            <a:avLst/>
            <a:gdLst/>
            <a:ahLst/>
            <a:cxnLst/>
            <a:rect l="l" t="t" r="r" b="b"/>
            <a:pathLst>
              <a:path w="125095" h="125095">
                <a:moveTo>
                  <a:pt x="56514" y="0"/>
                </a:moveTo>
                <a:lnTo>
                  <a:pt x="14731" y="21717"/>
                </a:lnTo>
                <a:lnTo>
                  <a:pt x="1015" y="43053"/>
                </a:lnTo>
                <a:lnTo>
                  <a:pt x="1142" y="57023"/>
                </a:lnTo>
                <a:lnTo>
                  <a:pt x="0" y="68326"/>
                </a:lnTo>
                <a:lnTo>
                  <a:pt x="21589" y="110109"/>
                </a:lnTo>
                <a:lnTo>
                  <a:pt x="31623" y="115697"/>
                </a:lnTo>
                <a:lnTo>
                  <a:pt x="42925" y="123952"/>
                </a:lnTo>
                <a:lnTo>
                  <a:pt x="54228" y="125095"/>
                </a:lnTo>
                <a:lnTo>
                  <a:pt x="68199" y="124968"/>
                </a:lnTo>
                <a:lnTo>
                  <a:pt x="80899" y="121920"/>
                </a:lnTo>
                <a:lnTo>
                  <a:pt x="121030" y="83439"/>
                </a:lnTo>
                <a:lnTo>
                  <a:pt x="124840" y="56642"/>
                </a:lnTo>
                <a:lnTo>
                  <a:pt x="121919" y="44068"/>
                </a:lnTo>
                <a:lnTo>
                  <a:pt x="116077" y="32893"/>
                </a:lnTo>
                <a:lnTo>
                  <a:pt x="111759" y="24511"/>
                </a:lnTo>
                <a:lnTo>
                  <a:pt x="103124" y="14731"/>
                </a:lnTo>
                <a:lnTo>
                  <a:pt x="93217" y="9271"/>
                </a:lnTo>
                <a:lnTo>
                  <a:pt x="79121" y="2540"/>
                </a:lnTo>
                <a:lnTo>
                  <a:pt x="56514" y="0"/>
                </a:lnTo>
                <a:close/>
              </a:path>
            </a:pathLst>
          </a:custGeom>
          <a:solidFill>
            <a:srgbClr val="D9D9D9"/>
          </a:solidFill>
        </p:spPr>
        <p:txBody>
          <a:bodyPr wrap="square" lIns="0" tIns="0" rIns="0" bIns="0" rtlCol="0"/>
          <a:lstStyle/>
          <a:p>
            <a:endParaRPr/>
          </a:p>
        </p:txBody>
      </p:sp>
      <p:sp>
        <p:nvSpPr>
          <p:cNvPr id="17" name="object 17"/>
          <p:cNvSpPr/>
          <p:nvPr/>
        </p:nvSpPr>
        <p:spPr>
          <a:xfrm>
            <a:off x="8206358" y="5306822"/>
            <a:ext cx="113031" cy="112395"/>
          </a:xfrm>
          <a:custGeom>
            <a:avLst/>
            <a:gdLst/>
            <a:ahLst/>
            <a:cxnLst/>
            <a:rect l="l" t="t" r="r" b="b"/>
            <a:pathLst>
              <a:path w="113029" h="112395">
                <a:moveTo>
                  <a:pt x="51308" y="0"/>
                </a:moveTo>
                <a:lnTo>
                  <a:pt x="41401" y="1523"/>
                </a:lnTo>
                <a:lnTo>
                  <a:pt x="30352" y="7365"/>
                </a:lnTo>
                <a:lnTo>
                  <a:pt x="21971" y="11683"/>
                </a:lnTo>
                <a:lnTo>
                  <a:pt x="12192" y="20319"/>
                </a:lnTo>
                <a:lnTo>
                  <a:pt x="1270" y="40131"/>
                </a:lnTo>
                <a:lnTo>
                  <a:pt x="0" y="51434"/>
                </a:lnTo>
                <a:lnTo>
                  <a:pt x="1524" y="61213"/>
                </a:lnTo>
                <a:lnTo>
                  <a:pt x="27559" y="104393"/>
                </a:lnTo>
                <a:lnTo>
                  <a:pt x="59944" y="112394"/>
                </a:lnTo>
                <a:lnTo>
                  <a:pt x="72644" y="109346"/>
                </a:lnTo>
                <a:lnTo>
                  <a:pt x="92075" y="99186"/>
                </a:lnTo>
                <a:lnTo>
                  <a:pt x="99060" y="92074"/>
                </a:lnTo>
                <a:lnTo>
                  <a:pt x="109982" y="72262"/>
                </a:lnTo>
                <a:lnTo>
                  <a:pt x="112522" y="49783"/>
                </a:lnTo>
                <a:lnTo>
                  <a:pt x="110871" y="39877"/>
                </a:lnTo>
                <a:lnTo>
                  <a:pt x="100838" y="20446"/>
                </a:lnTo>
                <a:lnTo>
                  <a:pt x="93599" y="13461"/>
                </a:lnTo>
                <a:lnTo>
                  <a:pt x="73787" y="2539"/>
                </a:lnTo>
                <a:lnTo>
                  <a:pt x="51308" y="0"/>
                </a:lnTo>
                <a:close/>
              </a:path>
            </a:pathLst>
          </a:custGeom>
          <a:solidFill>
            <a:srgbClr val="D9D9D9"/>
          </a:solidFill>
        </p:spPr>
        <p:txBody>
          <a:bodyPr wrap="square" lIns="0" tIns="0" rIns="0" bIns="0" rtlCol="0"/>
          <a:lstStyle/>
          <a:p>
            <a:endParaRPr/>
          </a:p>
        </p:txBody>
      </p:sp>
      <p:sp>
        <p:nvSpPr>
          <p:cNvPr id="18" name="object 18"/>
          <p:cNvSpPr/>
          <p:nvPr/>
        </p:nvSpPr>
        <p:spPr>
          <a:xfrm>
            <a:off x="8206358" y="5306822"/>
            <a:ext cx="113031" cy="112395"/>
          </a:xfrm>
          <a:custGeom>
            <a:avLst/>
            <a:gdLst/>
            <a:ahLst/>
            <a:cxnLst/>
            <a:rect l="l" t="t" r="r" b="b"/>
            <a:pathLst>
              <a:path w="113029" h="112395">
                <a:moveTo>
                  <a:pt x="51308" y="0"/>
                </a:moveTo>
                <a:lnTo>
                  <a:pt x="41401" y="1523"/>
                </a:lnTo>
                <a:lnTo>
                  <a:pt x="30352" y="7365"/>
                </a:lnTo>
                <a:lnTo>
                  <a:pt x="21971" y="11683"/>
                </a:lnTo>
                <a:lnTo>
                  <a:pt x="12192" y="20319"/>
                </a:lnTo>
                <a:lnTo>
                  <a:pt x="1270" y="40131"/>
                </a:lnTo>
                <a:lnTo>
                  <a:pt x="0" y="51434"/>
                </a:lnTo>
                <a:lnTo>
                  <a:pt x="1524" y="61213"/>
                </a:lnTo>
                <a:lnTo>
                  <a:pt x="27559" y="104393"/>
                </a:lnTo>
                <a:lnTo>
                  <a:pt x="59944" y="112394"/>
                </a:lnTo>
                <a:lnTo>
                  <a:pt x="72644" y="109346"/>
                </a:lnTo>
                <a:lnTo>
                  <a:pt x="92075" y="99186"/>
                </a:lnTo>
                <a:lnTo>
                  <a:pt x="99060" y="92074"/>
                </a:lnTo>
                <a:lnTo>
                  <a:pt x="109982" y="72262"/>
                </a:lnTo>
                <a:lnTo>
                  <a:pt x="112522" y="49783"/>
                </a:lnTo>
                <a:lnTo>
                  <a:pt x="110871" y="39877"/>
                </a:lnTo>
                <a:lnTo>
                  <a:pt x="100838" y="20446"/>
                </a:lnTo>
                <a:lnTo>
                  <a:pt x="93599" y="13461"/>
                </a:lnTo>
                <a:lnTo>
                  <a:pt x="73787" y="2539"/>
                </a:lnTo>
                <a:lnTo>
                  <a:pt x="51308" y="0"/>
                </a:lnTo>
                <a:close/>
              </a:path>
            </a:pathLst>
          </a:custGeom>
          <a:solidFill>
            <a:srgbClr val="D9D9D9"/>
          </a:solidFill>
        </p:spPr>
        <p:txBody>
          <a:bodyPr wrap="square" lIns="0" tIns="0" rIns="0" bIns="0" rtlCol="0"/>
          <a:lstStyle/>
          <a:p>
            <a:endParaRPr/>
          </a:p>
        </p:txBody>
      </p:sp>
      <p:sp>
        <p:nvSpPr>
          <p:cNvPr id="19" name="object 19"/>
          <p:cNvSpPr/>
          <p:nvPr/>
        </p:nvSpPr>
        <p:spPr>
          <a:xfrm>
            <a:off x="7861807" y="5389371"/>
            <a:ext cx="102870" cy="102870"/>
          </a:xfrm>
          <a:custGeom>
            <a:avLst/>
            <a:gdLst/>
            <a:ahLst/>
            <a:cxnLst/>
            <a:rect l="l" t="t" r="r" b="b"/>
            <a:pathLst>
              <a:path w="102870" h="102870">
                <a:moveTo>
                  <a:pt x="45593" y="0"/>
                </a:moveTo>
                <a:lnTo>
                  <a:pt x="6603" y="27304"/>
                </a:lnTo>
                <a:lnTo>
                  <a:pt x="3937" y="35813"/>
                </a:lnTo>
                <a:lnTo>
                  <a:pt x="1270" y="44195"/>
                </a:lnTo>
                <a:lnTo>
                  <a:pt x="10287" y="82041"/>
                </a:lnTo>
                <a:lnTo>
                  <a:pt x="35814" y="97154"/>
                </a:lnTo>
                <a:lnTo>
                  <a:pt x="45720" y="102615"/>
                </a:lnTo>
                <a:lnTo>
                  <a:pt x="65405" y="99567"/>
                </a:lnTo>
                <a:lnTo>
                  <a:pt x="73787" y="95122"/>
                </a:lnTo>
                <a:lnTo>
                  <a:pt x="82169" y="90804"/>
                </a:lnTo>
                <a:lnTo>
                  <a:pt x="89026" y="83692"/>
                </a:lnTo>
                <a:lnTo>
                  <a:pt x="96012" y="76580"/>
                </a:lnTo>
                <a:lnTo>
                  <a:pt x="99949" y="63880"/>
                </a:lnTo>
                <a:lnTo>
                  <a:pt x="102616" y="55371"/>
                </a:lnTo>
                <a:lnTo>
                  <a:pt x="99568" y="35686"/>
                </a:lnTo>
                <a:lnTo>
                  <a:pt x="95184" y="27304"/>
                </a:lnTo>
                <a:lnTo>
                  <a:pt x="90932" y="19049"/>
                </a:lnTo>
                <a:lnTo>
                  <a:pt x="83820" y="12064"/>
                </a:lnTo>
                <a:lnTo>
                  <a:pt x="76581" y="5206"/>
                </a:lnTo>
                <a:lnTo>
                  <a:pt x="68199" y="2412"/>
                </a:lnTo>
                <a:lnTo>
                  <a:pt x="56896" y="1269"/>
                </a:lnTo>
                <a:lnTo>
                  <a:pt x="45593" y="0"/>
                </a:lnTo>
                <a:close/>
              </a:path>
            </a:pathLst>
          </a:custGeom>
          <a:solidFill>
            <a:srgbClr val="D9D9D9"/>
          </a:solidFill>
        </p:spPr>
        <p:txBody>
          <a:bodyPr wrap="square" lIns="0" tIns="0" rIns="0" bIns="0" rtlCol="0"/>
          <a:lstStyle/>
          <a:p>
            <a:endParaRPr/>
          </a:p>
        </p:txBody>
      </p:sp>
      <p:sp>
        <p:nvSpPr>
          <p:cNvPr id="20" name="object 20"/>
          <p:cNvSpPr/>
          <p:nvPr/>
        </p:nvSpPr>
        <p:spPr>
          <a:xfrm>
            <a:off x="7861807" y="5389371"/>
            <a:ext cx="102870" cy="102870"/>
          </a:xfrm>
          <a:custGeom>
            <a:avLst/>
            <a:gdLst/>
            <a:ahLst/>
            <a:cxnLst/>
            <a:rect l="l" t="t" r="r" b="b"/>
            <a:pathLst>
              <a:path w="102870" h="102870">
                <a:moveTo>
                  <a:pt x="45593" y="0"/>
                </a:moveTo>
                <a:lnTo>
                  <a:pt x="6603" y="27304"/>
                </a:lnTo>
                <a:lnTo>
                  <a:pt x="3937" y="35813"/>
                </a:lnTo>
                <a:lnTo>
                  <a:pt x="1270" y="44195"/>
                </a:lnTo>
                <a:lnTo>
                  <a:pt x="10287" y="82041"/>
                </a:lnTo>
                <a:lnTo>
                  <a:pt x="35814" y="97154"/>
                </a:lnTo>
                <a:lnTo>
                  <a:pt x="45720" y="102615"/>
                </a:lnTo>
                <a:lnTo>
                  <a:pt x="65405" y="99567"/>
                </a:lnTo>
                <a:lnTo>
                  <a:pt x="73787" y="95122"/>
                </a:lnTo>
                <a:lnTo>
                  <a:pt x="82169" y="90804"/>
                </a:lnTo>
                <a:lnTo>
                  <a:pt x="89026" y="83692"/>
                </a:lnTo>
                <a:lnTo>
                  <a:pt x="96012" y="76580"/>
                </a:lnTo>
                <a:lnTo>
                  <a:pt x="99949" y="63880"/>
                </a:lnTo>
                <a:lnTo>
                  <a:pt x="102616" y="55371"/>
                </a:lnTo>
                <a:lnTo>
                  <a:pt x="99568" y="35686"/>
                </a:lnTo>
                <a:lnTo>
                  <a:pt x="95184" y="27304"/>
                </a:lnTo>
                <a:lnTo>
                  <a:pt x="90932" y="19049"/>
                </a:lnTo>
                <a:lnTo>
                  <a:pt x="83820" y="12064"/>
                </a:lnTo>
                <a:lnTo>
                  <a:pt x="76581" y="5206"/>
                </a:lnTo>
                <a:lnTo>
                  <a:pt x="68199" y="2412"/>
                </a:lnTo>
                <a:lnTo>
                  <a:pt x="56896" y="1269"/>
                </a:lnTo>
                <a:lnTo>
                  <a:pt x="45593" y="0"/>
                </a:lnTo>
                <a:close/>
              </a:path>
            </a:pathLst>
          </a:custGeom>
          <a:solidFill>
            <a:srgbClr val="D9D9D9"/>
          </a:solidFill>
        </p:spPr>
        <p:txBody>
          <a:bodyPr wrap="square" lIns="0" tIns="0" rIns="0" bIns="0" rtlCol="0"/>
          <a:lstStyle/>
          <a:p>
            <a:endParaRPr/>
          </a:p>
        </p:txBody>
      </p:sp>
      <p:sp>
        <p:nvSpPr>
          <p:cNvPr id="21" name="object 21"/>
          <p:cNvSpPr/>
          <p:nvPr/>
        </p:nvSpPr>
        <p:spPr>
          <a:xfrm>
            <a:off x="7512051" y="5410073"/>
            <a:ext cx="90169" cy="88900"/>
          </a:xfrm>
          <a:custGeom>
            <a:avLst/>
            <a:gdLst/>
            <a:ahLst/>
            <a:cxnLst/>
            <a:rect l="l" t="t" r="r" b="b"/>
            <a:pathLst>
              <a:path w="90170" h="88900">
                <a:moveTo>
                  <a:pt x="41401" y="0"/>
                </a:moveTo>
                <a:lnTo>
                  <a:pt x="23241" y="5841"/>
                </a:lnTo>
                <a:lnTo>
                  <a:pt x="10795" y="15874"/>
                </a:lnTo>
                <a:lnTo>
                  <a:pt x="1143" y="31495"/>
                </a:lnTo>
                <a:lnTo>
                  <a:pt x="0" y="49783"/>
                </a:lnTo>
                <a:lnTo>
                  <a:pt x="4445" y="65277"/>
                </a:lnTo>
                <a:lnTo>
                  <a:pt x="14477" y="77723"/>
                </a:lnTo>
                <a:lnTo>
                  <a:pt x="30099" y="87375"/>
                </a:lnTo>
                <a:lnTo>
                  <a:pt x="48386" y="88518"/>
                </a:lnTo>
                <a:lnTo>
                  <a:pt x="65277" y="86867"/>
                </a:lnTo>
                <a:lnTo>
                  <a:pt x="79121" y="72516"/>
                </a:lnTo>
                <a:lnTo>
                  <a:pt x="85851" y="58419"/>
                </a:lnTo>
                <a:lnTo>
                  <a:pt x="89789" y="38607"/>
                </a:lnTo>
                <a:lnTo>
                  <a:pt x="85344" y="23240"/>
                </a:lnTo>
                <a:lnTo>
                  <a:pt x="75310" y="10794"/>
                </a:lnTo>
                <a:lnTo>
                  <a:pt x="56896" y="2539"/>
                </a:lnTo>
                <a:lnTo>
                  <a:pt x="41401" y="0"/>
                </a:lnTo>
                <a:close/>
              </a:path>
            </a:pathLst>
          </a:custGeom>
          <a:solidFill>
            <a:srgbClr val="D9D9D9"/>
          </a:solidFill>
        </p:spPr>
        <p:txBody>
          <a:bodyPr wrap="square" lIns="0" tIns="0" rIns="0" bIns="0" rtlCol="0"/>
          <a:lstStyle/>
          <a:p>
            <a:endParaRPr/>
          </a:p>
        </p:txBody>
      </p:sp>
      <p:sp>
        <p:nvSpPr>
          <p:cNvPr id="22" name="object 22"/>
          <p:cNvSpPr/>
          <p:nvPr/>
        </p:nvSpPr>
        <p:spPr>
          <a:xfrm>
            <a:off x="7512051" y="5410073"/>
            <a:ext cx="90169" cy="88900"/>
          </a:xfrm>
          <a:custGeom>
            <a:avLst/>
            <a:gdLst/>
            <a:ahLst/>
            <a:cxnLst/>
            <a:rect l="l" t="t" r="r" b="b"/>
            <a:pathLst>
              <a:path w="90170" h="88900">
                <a:moveTo>
                  <a:pt x="41401" y="0"/>
                </a:moveTo>
                <a:lnTo>
                  <a:pt x="23241" y="5841"/>
                </a:lnTo>
                <a:lnTo>
                  <a:pt x="10795" y="15874"/>
                </a:lnTo>
                <a:lnTo>
                  <a:pt x="1143" y="31495"/>
                </a:lnTo>
                <a:lnTo>
                  <a:pt x="0" y="49783"/>
                </a:lnTo>
                <a:lnTo>
                  <a:pt x="4445" y="65277"/>
                </a:lnTo>
                <a:lnTo>
                  <a:pt x="14477" y="77723"/>
                </a:lnTo>
                <a:lnTo>
                  <a:pt x="30099" y="87375"/>
                </a:lnTo>
                <a:lnTo>
                  <a:pt x="48386" y="88518"/>
                </a:lnTo>
                <a:lnTo>
                  <a:pt x="65277" y="86867"/>
                </a:lnTo>
                <a:lnTo>
                  <a:pt x="79121" y="72516"/>
                </a:lnTo>
                <a:lnTo>
                  <a:pt x="85851" y="58419"/>
                </a:lnTo>
                <a:lnTo>
                  <a:pt x="89789" y="38607"/>
                </a:lnTo>
                <a:lnTo>
                  <a:pt x="85344" y="23240"/>
                </a:lnTo>
                <a:lnTo>
                  <a:pt x="75310" y="10794"/>
                </a:lnTo>
                <a:lnTo>
                  <a:pt x="56896" y="2539"/>
                </a:lnTo>
                <a:lnTo>
                  <a:pt x="41401" y="0"/>
                </a:lnTo>
                <a:close/>
              </a:path>
            </a:pathLst>
          </a:custGeom>
          <a:solidFill>
            <a:srgbClr val="D9D9D9"/>
          </a:solidFill>
        </p:spPr>
        <p:txBody>
          <a:bodyPr wrap="square" lIns="0" tIns="0" rIns="0" bIns="0" rtlCol="0"/>
          <a:lstStyle/>
          <a:p>
            <a:endParaRPr/>
          </a:p>
        </p:txBody>
      </p:sp>
      <p:sp>
        <p:nvSpPr>
          <p:cNvPr id="23" name="object 23"/>
          <p:cNvSpPr/>
          <p:nvPr/>
        </p:nvSpPr>
        <p:spPr>
          <a:xfrm>
            <a:off x="7161277" y="5367529"/>
            <a:ext cx="81914" cy="81915"/>
          </a:xfrm>
          <a:custGeom>
            <a:avLst/>
            <a:gdLst/>
            <a:ahLst/>
            <a:cxnLst/>
            <a:rect l="l" t="t" r="r" b="b"/>
            <a:pathLst>
              <a:path w="81915" h="81914">
                <a:moveTo>
                  <a:pt x="37338" y="0"/>
                </a:moveTo>
                <a:lnTo>
                  <a:pt x="21971" y="4445"/>
                </a:lnTo>
                <a:lnTo>
                  <a:pt x="9398" y="14478"/>
                </a:lnTo>
                <a:lnTo>
                  <a:pt x="2667" y="28702"/>
                </a:lnTo>
                <a:lnTo>
                  <a:pt x="0" y="44196"/>
                </a:lnTo>
                <a:lnTo>
                  <a:pt x="4445" y="59563"/>
                </a:lnTo>
                <a:lnTo>
                  <a:pt x="14477" y="72009"/>
                </a:lnTo>
                <a:lnTo>
                  <a:pt x="28701" y="78867"/>
                </a:lnTo>
                <a:lnTo>
                  <a:pt x="44196" y="81407"/>
                </a:lnTo>
                <a:lnTo>
                  <a:pt x="59563" y="76962"/>
                </a:lnTo>
                <a:lnTo>
                  <a:pt x="72008" y="66929"/>
                </a:lnTo>
                <a:lnTo>
                  <a:pt x="78867" y="52832"/>
                </a:lnTo>
                <a:lnTo>
                  <a:pt x="81533" y="37338"/>
                </a:lnTo>
                <a:lnTo>
                  <a:pt x="77089" y="21971"/>
                </a:lnTo>
                <a:lnTo>
                  <a:pt x="67055" y="9398"/>
                </a:lnTo>
                <a:lnTo>
                  <a:pt x="52831" y="2667"/>
                </a:lnTo>
                <a:lnTo>
                  <a:pt x="37338" y="0"/>
                </a:lnTo>
                <a:close/>
              </a:path>
            </a:pathLst>
          </a:custGeom>
          <a:solidFill>
            <a:srgbClr val="D9D9D9"/>
          </a:solidFill>
        </p:spPr>
        <p:txBody>
          <a:bodyPr wrap="square" lIns="0" tIns="0" rIns="0" bIns="0" rtlCol="0"/>
          <a:lstStyle/>
          <a:p>
            <a:endParaRPr/>
          </a:p>
        </p:txBody>
      </p:sp>
      <p:sp>
        <p:nvSpPr>
          <p:cNvPr id="24" name="object 24"/>
          <p:cNvSpPr/>
          <p:nvPr/>
        </p:nvSpPr>
        <p:spPr>
          <a:xfrm>
            <a:off x="7161277" y="5367529"/>
            <a:ext cx="81914" cy="81915"/>
          </a:xfrm>
          <a:custGeom>
            <a:avLst/>
            <a:gdLst/>
            <a:ahLst/>
            <a:cxnLst/>
            <a:rect l="l" t="t" r="r" b="b"/>
            <a:pathLst>
              <a:path w="81915" h="81914">
                <a:moveTo>
                  <a:pt x="37338" y="0"/>
                </a:moveTo>
                <a:lnTo>
                  <a:pt x="21971" y="4445"/>
                </a:lnTo>
                <a:lnTo>
                  <a:pt x="9398" y="14478"/>
                </a:lnTo>
                <a:lnTo>
                  <a:pt x="2667" y="28702"/>
                </a:lnTo>
                <a:lnTo>
                  <a:pt x="0" y="44196"/>
                </a:lnTo>
                <a:lnTo>
                  <a:pt x="4445" y="59563"/>
                </a:lnTo>
                <a:lnTo>
                  <a:pt x="14477" y="72009"/>
                </a:lnTo>
                <a:lnTo>
                  <a:pt x="28701" y="78867"/>
                </a:lnTo>
                <a:lnTo>
                  <a:pt x="44196" y="81407"/>
                </a:lnTo>
                <a:lnTo>
                  <a:pt x="59563" y="76962"/>
                </a:lnTo>
                <a:lnTo>
                  <a:pt x="72008" y="66929"/>
                </a:lnTo>
                <a:lnTo>
                  <a:pt x="78867" y="52832"/>
                </a:lnTo>
                <a:lnTo>
                  <a:pt x="81533" y="37338"/>
                </a:lnTo>
                <a:lnTo>
                  <a:pt x="77089" y="21971"/>
                </a:lnTo>
                <a:lnTo>
                  <a:pt x="67055" y="9398"/>
                </a:lnTo>
                <a:lnTo>
                  <a:pt x="52831" y="2667"/>
                </a:lnTo>
                <a:lnTo>
                  <a:pt x="37338" y="0"/>
                </a:lnTo>
                <a:close/>
              </a:path>
            </a:pathLst>
          </a:custGeom>
          <a:solidFill>
            <a:srgbClr val="D9D9D9"/>
          </a:solidFill>
        </p:spPr>
        <p:txBody>
          <a:bodyPr wrap="square" lIns="0" tIns="0" rIns="0" bIns="0" rtlCol="0"/>
          <a:lstStyle/>
          <a:p>
            <a:endParaRPr/>
          </a:p>
        </p:txBody>
      </p:sp>
      <p:sp>
        <p:nvSpPr>
          <p:cNvPr id="25" name="object 25"/>
          <p:cNvSpPr/>
          <p:nvPr/>
        </p:nvSpPr>
        <p:spPr>
          <a:xfrm>
            <a:off x="6824980" y="5261609"/>
            <a:ext cx="72390" cy="74930"/>
          </a:xfrm>
          <a:custGeom>
            <a:avLst/>
            <a:gdLst/>
            <a:ahLst/>
            <a:cxnLst/>
            <a:rect l="l" t="t" r="r" b="b"/>
            <a:pathLst>
              <a:path w="72390" h="74929">
                <a:moveTo>
                  <a:pt x="31876" y="0"/>
                </a:moveTo>
                <a:lnTo>
                  <a:pt x="6730" y="12953"/>
                </a:lnTo>
                <a:lnTo>
                  <a:pt x="0" y="27177"/>
                </a:lnTo>
                <a:lnTo>
                  <a:pt x="126" y="41147"/>
                </a:lnTo>
                <a:lnTo>
                  <a:pt x="3175" y="53847"/>
                </a:lnTo>
                <a:lnTo>
                  <a:pt x="13208" y="66293"/>
                </a:lnTo>
                <a:lnTo>
                  <a:pt x="24511" y="74548"/>
                </a:lnTo>
                <a:lnTo>
                  <a:pt x="38608" y="74421"/>
                </a:lnTo>
                <a:lnTo>
                  <a:pt x="53975" y="69976"/>
                </a:lnTo>
                <a:lnTo>
                  <a:pt x="63753" y="61340"/>
                </a:lnTo>
                <a:lnTo>
                  <a:pt x="72009" y="50037"/>
                </a:lnTo>
                <a:lnTo>
                  <a:pt x="71754" y="35940"/>
                </a:lnTo>
                <a:lnTo>
                  <a:pt x="67310" y="20573"/>
                </a:lnTo>
                <a:lnTo>
                  <a:pt x="58800" y="10794"/>
                </a:lnTo>
                <a:lnTo>
                  <a:pt x="47371" y="2539"/>
                </a:lnTo>
                <a:lnTo>
                  <a:pt x="31876" y="0"/>
                </a:lnTo>
                <a:close/>
              </a:path>
            </a:pathLst>
          </a:custGeom>
          <a:solidFill>
            <a:srgbClr val="D9D9D9"/>
          </a:solidFill>
        </p:spPr>
        <p:txBody>
          <a:bodyPr wrap="square" lIns="0" tIns="0" rIns="0" bIns="0" rtlCol="0"/>
          <a:lstStyle/>
          <a:p>
            <a:endParaRPr/>
          </a:p>
        </p:txBody>
      </p:sp>
      <p:sp>
        <p:nvSpPr>
          <p:cNvPr id="26" name="object 26"/>
          <p:cNvSpPr/>
          <p:nvPr/>
        </p:nvSpPr>
        <p:spPr>
          <a:xfrm>
            <a:off x="6824980" y="5261609"/>
            <a:ext cx="72390" cy="74930"/>
          </a:xfrm>
          <a:custGeom>
            <a:avLst/>
            <a:gdLst/>
            <a:ahLst/>
            <a:cxnLst/>
            <a:rect l="l" t="t" r="r" b="b"/>
            <a:pathLst>
              <a:path w="72390" h="74929">
                <a:moveTo>
                  <a:pt x="31876" y="0"/>
                </a:moveTo>
                <a:lnTo>
                  <a:pt x="6730" y="12953"/>
                </a:lnTo>
                <a:lnTo>
                  <a:pt x="0" y="27177"/>
                </a:lnTo>
                <a:lnTo>
                  <a:pt x="126" y="41147"/>
                </a:lnTo>
                <a:lnTo>
                  <a:pt x="3175" y="53847"/>
                </a:lnTo>
                <a:lnTo>
                  <a:pt x="13208" y="66293"/>
                </a:lnTo>
                <a:lnTo>
                  <a:pt x="24511" y="74548"/>
                </a:lnTo>
                <a:lnTo>
                  <a:pt x="38608" y="74421"/>
                </a:lnTo>
                <a:lnTo>
                  <a:pt x="53975" y="69976"/>
                </a:lnTo>
                <a:lnTo>
                  <a:pt x="63753" y="61340"/>
                </a:lnTo>
                <a:lnTo>
                  <a:pt x="72009" y="50037"/>
                </a:lnTo>
                <a:lnTo>
                  <a:pt x="71754" y="35940"/>
                </a:lnTo>
                <a:lnTo>
                  <a:pt x="67310" y="20573"/>
                </a:lnTo>
                <a:lnTo>
                  <a:pt x="58800" y="10794"/>
                </a:lnTo>
                <a:lnTo>
                  <a:pt x="47371" y="2539"/>
                </a:lnTo>
                <a:lnTo>
                  <a:pt x="31876" y="0"/>
                </a:lnTo>
                <a:close/>
              </a:path>
            </a:pathLst>
          </a:custGeom>
          <a:solidFill>
            <a:srgbClr val="D9D9D9"/>
          </a:solidFill>
        </p:spPr>
        <p:txBody>
          <a:bodyPr wrap="square" lIns="0" tIns="0" rIns="0" bIns="0" rtlCol="0"/>
          <a:lstStyle/>
          <a:p>
            <a:endParaRPr/>
          </a:p>
        </p:txBody>
      </p:sp>
      <p:sp>
        <p:nvSpPr>
          <p:cNvPr id="27" name="object 27"/>
          <p:cNvSpPr/>
          <p:nvPr/>
        </p:nvSpPr>
        <p:spPr>
          <a:xfrm>
            <a:off x="9554718" y="3756914"/>
            <a:ext cx="191770" cy="191135"/>
          </a:xfrm>
          <a:custGeom>
            <a:avLst/>
            <a:gdLst/>
            <a:ahLst/>
            <a:cxnLst/>
            <a:rect l="l" t="t" r="r" b="b"/>
            <a:pathLst>
              <a:path w="191770" h="191135">
                <a:moveTo>
                  <a:pt x="87122" y="0"/>
                </a:moveTo>
                <a:lnTo>
                  <a:pt x="50673" y="11684"/>
                </a:lnTo>
                <a:lnTo>
                  <a:pt x="13334" y="48894"/>
                </a:lnTo>
                <a:lnTo>
                  <a:pt x="1142" y="86994"/>
                </a:lnTo>
                <a:lnTo>
                  <a:pt x="0" y="105283"/>
                </a:lnTo>
                <a:lnTo>
                  <a:pt x="3175" y="124968"/>
                </a:lnTo>
                <a:lnTo>
                  <a:pt x="10413" y="138811"/>
                </a:lnTo>
                <a:lnTo>
                  <a:pt x="19050" y="155575"/>
                </a:lnTo>
                <a:lnTo>
                  <a:pt x="33400" y="169418"/>
                </a:lnTo>
                <a:lnTo>
                  <a:pt x="48895" y="179069"/>
                </a:lnTo>
                <a:lnTo>
                  <a:pt x="67309" y="187198"/>
                </a:lnTo>
                <a:lnTo>
                  <a:pt x="87122" y="191135"/>
                </a:lnTo>
                <a:lnTo>
                  <a:pt x="120776" y="187833"/>
                </a:lnTo>
                <a:lnTo>
                  <a:pt x="168148" y="156210"/>
                </a:lnTo>
                <a:lnTo>
                  <a:pt x="191261" y="105283"/>
                </a:lnTo>
                <a:lnTo>
                  <a:pt x="189610" y="88392"/>
                </a:lnTo>
                <a:lnTo>
                  <a:pt x="180593" y="50546"/>
                </a:lnTo>
                <a:lnTo>
                  <a:pt x="143509" y="13208"/>
                </a:lnTo>
                <a:lnTo>
                  <a:pt x="105409" y="1143"/>
                </a:lnTo>
                <a:lnTo>
                  <a:pt x="87122" y="0"/>
                </a:lnTo>
                <a:close/>
              </a:path>
            </a:pathLst>
          </a:custGeom>
          <a:solidFill>
            <a:srgbClr val="D9D9D9"/>
          </a:solidFill>
        </p:spPr>
        <p:txBody>
          <a:bodyPr wrap="square" lIns="0" tIns="0" rIns="0" bIns="0" rtlCol="0"/>
          <a:lstStyle/>
          <a:p>
            <a:endParaRPr/>
          </a:p>
        </p:txBody>
      </p:sp>
      <p:sp>
        <p:nvSpPr>
          <p:cNvPr id="28" name="object 28"/>
          <p:cNvSpPr/>
          <p:nvPr/>
        </p:nvSpPr>
        <p:spPr>
          <a:xfrm>
            <a:off x="9554718" y="3756914"/>
            <a:ext cx="191770" cy="191135"/>
          </a:xfrm>
          <a:custGeom>
            <a:avLst/>
            <a:gdLst/>
            <a:ahLst/>
            <a:cxnLst/>
            <a:rect l="l" t="t" r="r" b="b"/>
            <a:pathLst>
              <a:path w="191770" h="191135">
                <a:moveTo>
                  <a:pt x="87122" y="0"/>
                </a:moveTo>
                <a:lnTo>
                  <a:pt x="50673" y="11684"/>
                </a:lnTo>
                <a:lnTo>
                  <a:pt x="13334" y="48894"/>
                </a:lnTo>
                <a:lnTo>
                  <a:pt x="1142" y="86994"/>
                </a:lnTo>
                <a:lnTo>
                  <a:pt x="0" y="105283"/>
                </a:lnTo>
                <a:lnTo>
                  <a:pt x="3175" y="124968"/>
                </a:lnTo>
                <a:lnTo>
                  <a:pt x="10413" y="138811"/>
                </a:lnTo>
                <a:lnTo>
                  <a:pt x="19050" y="155575"/>
                </a:lnTo>
                <a:lnTo>
                  <a:pt x="33400" y="169418"/>
                </a:lnTo>
                <a:lnTo>
                  <a:pt x="48895" y="179069"/>
                </a:lnTo>
                <a:lnTo>
                  <a:pt x="67309" y="187198"/>
                </a:lnTo>
                <a:lnTo>
                  <a:pt x="87122" y="191135"/>
                </a:lnTo>
                <a:lnTo>
                  <a:pt x="120776" y="187833"/>
                </a:lnTo>
                <a:lnTo>
                  <a:pt x="168148" y="156210"/>
                </a:lnTo>
                <a:lnTo>
                  <a:pt x="191261" y="105283"/>
                </a:lnTo>
                <a:lnTo>
                  <a:pt x="189610" y="88392"/>
                </a:lnTo>
                <a:lnTo>
                  <a:pt x="180593" y="50546"/>
                </a:lnTo>
                <a:lnTo>
                  <a:pt x="143509" y="13208"/>
                </a:lnTo>
                <a:lnTo>
                  <a:pt x="105409" y="1143"/>
                </a:lnTo>
                <a:lnTo>
                  <a:pt x="87122" y="0"/>
                </a:lnTo>
                <a:close/>
              </a:path>
            </a:pathLst>
          </a:custGeom>
          <a:solidFill>
            <a:srgbClr val="D9D9D9"/>
          </a:solidFill>
        </p:spPr>
        <p:txBody>
          <a:bodyPr wrap="square" lIns="0" tIns="0" rIns="0" bIns="0" rtlCol="0"/>
          <a:lstStyle/>
          <a:p>
            <a:endParaRPr/>
          </a:p>
        </p:txBody>
      </p:sp>
      <p:sp>
        <p:nvSpPr>
          <p:cNvPr id="29" name="object 29"/>
          <p:cNvSpPr/>
          <p:nvPr/>
        </p:nvSpPr>
        <p:spPr>
          <a:xfrm>
            <a:off x="9611359" y="3412997"/>
            <a:ext cx="171450" cy="173355"/>
          </a:xfrm>
          <a:custGeom>
            <a:avLst/>
            <a:gdLst/>
            <a:ahLst/>
            <a:cxnLst/>
            <a:rect l="l" t="t" r="r" b="b"/>
            <a:pathLst>
              <a:path w="171450" h="173354">
                <a:moveTo>
                  <a:pt x="92837" y="0"/>
                </a:moveTo>
                <a:lnTo>
                  <a:pt x="78740" y="126"/>
                </a:lnTo>
                <a:lnTo>
                  <a:pt x="61849" y="1777"/>
                </a:lnTo>
                <a:lnTo>
                  <a:pt x="31242" y="17779"/>
                </a:lnTo>
                <a:lnTo>
                  <a:pt x="20193" y="30606"/>
                </a:lnTo>
                <a:lnTo>
                  <a:pt x="9144" y="43306"/>
                </a:lnTo>
                <a:lnTo>
                  <a:pt x="3683" y="60325"/>
                </a:lnTo>
                <a:lnTo>
                  <a:pt x="1143" y="75818"/>
                </a:lnTo>
                <a:lnTo>
                  <a:pt x="0" y="94106"/>
                </a:lnTo>
                <a:lnTo>
                  <a:pt x="8890" y="124840"/>
                </a:lnTo>
                <a:lnTo>
                  <a:pt x="60198" y="169163"/>
                </a:lnTo>
                <a:lnTo>
                  <a:pt x="93980" y="172847"/>
                </a:lnTo>
                <a:lnTo>
                  <a:pt x="124714" y="163956"/>
                </a:lnTo>
                <a:lnTo>
                  <a:pt x="140081" y="152526"/>
                </a:lnTo>
                <a:lnTo>
                  <a:pt x="152526" y="142493"/>
                </a:lnTo>
                <a:lnTo>
                  <a:pt x="159385" y="128269"/>
                </a:lnTo>
                <a:lnTo>
                  <a:pt x="168910" y="112649"/>
                </a:lnTo>
                <a:lnTo>
                  <a:pt x="162306" y="45338"/>
                </a:lnTo>
                <a:lnTo>
                  <a:pt x="126746" y="10667"/>
                </a:lnTo>
                <a:lnTo>
                  <a:pt x="112522" y="3937"/>
                </a:lnTo>
                <a:lnTo>
                  <a:pt x="92837" y="0"/>
                </a:lnTo>
                <a:close/>
              </a:path>
            </a:pathLst>
          </a:custGeom>
          <a:solidFill>
            <a:srgbClr val="D9D9D9"/>
          </a:solidFill>
        </p:spPr>
        <p:txBody>
          <a:bodyPr wrap="square" lIns="0" tIns="0" rIns="0" bIns="0" rtlCol="0"/>
          <a:lstStyle/>
          <a:p>
            <a:endParaRPr/>
          </a:p>
        </p:txBody>
      </p:sp>
      <p:sp>
        <p:nvSpPr>
          <p:cNvPr id="30" name="object 30"/>
          <p:cNvSpPr/>
          <p:nvPr/>
        </p:nvSpPr>
        <p:spPr>
          <a:xfrm>
            <a:off x="9611359" y="3412997"/>
            <a:ext cx="171450" cy="173355"/>
          </a:xfrm>
          <a:custGeom>
            <a:avLst/>
            <a:gdLst/>
            <a:ahLst/>
            <a:cxnLst/>
            <a:rect l="l" t="t" r="r" b="b"/>
            <a:pathLst>
              <a:path w="171450" h="173354">
                <a:moveTo>
                  <a:pt x="92837" y="0"/>
                </a:moveTo>
                <a:lnTo>
                  <a:pt x="78740" y="126"/>
                </a:lnTo>
                <a:lnTo>
                  <a:pt x="61849" y="1777"/>
                </a:lnTo>
                <a:lnTo>
                  <a:pt x="31242" y="17779"/>
                </a:lnTo>
                <a:lnTo>
                  <a:pt x="20193" y="30606"/>
                </a:lnTo>
                <a:lnTo>
                  <a:pt x="9144" y="43306"/>
                </a:lnTo>
                <a:lnTo>
                  <a:pt x="3683" y="60325"/>
                </a:lnTo>
                <a:lnTo>
                  <a:pt x="1143" y="75818"/>
                </a:lnTo>
                <a:lnTo>
                  <a:pt x="0" y="94106"/>
                </a:lnTo>
                <a:lnTo>
                  <a:pt x="8890" y="124840"/>
                </a:lnTo>
                <a:lnTo>
                  <a:pt x="60198" y="169163"/>
                </a:lnTo>
                <a:lnTo>
                  <a:pt x="93980" y="172847"/>
                </a:lnTo>
                <a:lnTo>
                  <a:pt x="124714" y="163956"/>
                </a:lnTo>
                <a:lnTo>
                  <a:pt x="140081" y="152526"/>
                </a:lnTo>
                <a:lnTo>
                  <a:pt x="152526" y="142493"/>
                </a:lnTo>
                <a:lnTo>
                  <a:pt x="159385" y="128269"/>
                </a:lnTo>
                <a:lnTo>
                  <a:pt x="168910" y="112649"/>
                </a:lnTo>
                <a:lnTo>
                  <a:pt x="162306" y="45338"/>
                </a:lnTo>
                <a:lnTo>
                  <a:pt x="126746" y="10667"/>
                </a:lnTo>
                <a:lnTo>
                  <a:pt x="112522" y="3937"/>
                </a:lnTo>
                <a:lnTo>
                  <a:pt x="92837" y="0"/>
                </a:lnTo>
                <a:close/>
              </a:path>
            </a:pathLst>
          </a:custGeom>
          <a:solidFill>
            <a:srgbClr val="D9D9D9"/>
          </a:solidFill>
        </p:spPr>
        <p:txBody>
          <a:bodyPr wrap="square" lIns="0" tIns="0" rIns="0" bIns="0" rtlCol="0"/>
          <a:lstStyle/>
          <a:p>
            <a:endParaRPr/>
          </a:p>
        </p:txBody>
      </p:sp>
      <p:sp>
        <p:nvSpPr>
          <p:cNvPr id="31" name="object 31"/>
          <p:cNvSpPr/>
          <p:nvPr/>
        </p:nvSpPr>
        <p:spPr>
          <a:xfrm>
            <a:off x="9606024" y="3063367"/>
            <a:ext cx="153670" cy="156210"/>
          </a:xfrm>
          <a:custGeom>
            <a:avLst/>
            <a:gdLst/>
            <a:ahLst/>
            <a:cxnLst/>
            <a:rect l="l" t="t" r="r" b="b"/>
            <a:pathLst>
              <a:path w="153670" h="156210">
                <a:moveTo>
                  <a:pt x="69090" y="0"/>
                </a:moveTo>
                <a:lnTo>
                  <a:pt x="28577" y="17399"/>
                </a:lnTo>
                <a:lnTo>
                  <a:pt x="9273" y="41656"/>
                </a:lnTo>
                <a:lnTo>
                  <a:pt x="2415" y="55753"/>
                </a:lnTo>
                <a:lnTo>
                  <a:pt x="0" y="70485"/>
                </a:lnTo>
                <a:lnTo>
                  <a:pt x="2" y="85344"/>
                </a:lnTo>
                <a:lnTo>
                  <a:pt x="256" y="99441"/>
                </a:lnTo>
                <a:lnTo>
                  <a:pt x="7495" y="113411"/>
                </a:lnTo>
                <a:lnTo>
                  <a:pt x="14734" y="127254"/>
                </a:lnTo>
                <a:lnTo>
                  <a:pt x="26037" y="135636"/>
                </a:lnTo>
                <a:lnTo>
                  <a:pt x="38864" y="146685"/>
                </a:lnTo>
                <a:lnTo>
                  <a:pt x="53088" y="153416"/>
                </a:lnTo>
                <a:lnTo>
                  <a:pt x="68582" y="156083"/>
                </a:lnTo>
                <a:lnTo>
                  <a:pt x="82552" y="155829"/>
                </a:lnTo>
                <a:lnTo>
                  <a:pt x="113413" y="146938"/>
                </a:lnTo>
                <a:lnTo>
                  <a:pt x="123065" y="138303"/>
                </a:lnTo>
                <a:lnTo>
                  <a:pt x="135638" y="128270"/>
                </a:lnTo>
                <a:lnTo>
                  <a:pt x="143893" y="116967"/>
                </a:lnTo>
                <a:lnTo>
                  <a:pt x="150751" y="102743"/>
                </a:lnTo>
                <a:lnTo>
                  <a:pt x="153291" y="87249"/>
                </a:lnTo>
                <a:lnTo>
                  <a:pt x="151640" y="70485"/>
                </a:lnTo>
                <a:lnTo>
                  <a:pt x="151386" y="56387"/>
                </a:lnTo>
                <a:lnTo>
                  <a:pt x="136908" y="28448"/>
                </a:lnTo>
                <a:lnTo>
                  <a:pt x="114175" y="11937"/>
                </a:lnTo>
                <a:lnTo>
                  <a:pt x="100078" y="5207"/>
                </a:lnTo>
                <a:lnTo>
                  <a:pt x="69090" y="0"/>
                </a:lnTo>
                <a:close/>
              </a:path>
            </a:pathLst>
          </a:custGeom>
          <a:solidFill>
            <a:srgbClr val="D9D9D9"/>
          </a:solidFill>
        </p:spPr>
        <p:txBody>
          <a:bodyPr wrap="square" lIns="0" tIns="0" rIns="0" bIns="0" rtlCol="0"/>
          <a:lstStyle/>
          <a:p>
            <a:endParaRPr/>
          </a:p>
        </p:txBody>
      </p:sp>
      <p:sp>
        <p:nvSpPr>
          <p:cNvPr id="32" name="object 32"/>
          <p:cNvSpPr/>
          <p:nvPr/>
        </p:nvSpPr>
        <p:spPr>
          <a:xfrm>
            <a:off x="9606024" y="3063367"/>
            <a:ext cx="153670" cy="156210"/>
          </a:xfrm>
          <a:custGeom>
            <a:avLst/>
            <a:gdLst/>
            <a:ahLst/>
            <a:cxnLst/>
            <a:rect l="l" t="t" r="r" b="b"/>
            <a:pathLst>
              <a:path w="153670" h="156210">
                <a:moveTo>
                  <a:pt x="69090" y="0"/>
                </a:moveTo>
                <a:lnTo>
                  <a:pt x="28577" y="17399"/>
                </a:lnTo>
                <a:lnTo>
                  <a:pt x="9273" y="41656"/>
                </a:lnTo>
                <a:lnTo>
                  <a:pt x="2415" y="55753"/>
                </a:lnTo>
                <a:lnTo>
                  <a:pt x="0" y="70485"/>
                </a:lnTo>
                <a:lnTo>
                  <a:pt x="2" y="85344"/>
                </a:lnTo>
                <a:lnTo>
                  <a:pt x="256" y="99441"/>
                </a:lnTo>
                <a:lnTo>
                  <a:pt x="7495" y="113411"/>
                </a:lnTo>
                <a:lnTo>
                  <a:pt x="14734" y="127254"/>
                </a:lnTo>
                <a:lnTo>
                  <a:pt x="26037" y="135636"/>
                </a:lnTo>
                <a:lnTo>
                  <a:pt x="38864" y="146685"/>
                </a:lnTo>
                <a:lnTo>
                  <a:pt x="53088" y="153416"/>
                </a:lnTo>
                <a:lnTo>
                  <a:pt x="68582" y="156083"/>
                </a:lnTo>
                <a:lnTo>
                  <a:pt x="82552" y="155829"/>
                </a:lnTo>
                <a:lnTo>
                  <a:pt x="113413" y="146938"/>
                </a:lnTo>
                <a:lnTo>
                  <a:pt x="123065" y="138303"/>
                </a:lnTo>
                <a:lnTo>
                  <a:pt x="135638" y="128270"/>
                </a:lnTo>
                <a:lnTo>
                  <a:pt x="143893" y="116967"/>
                </a:lnTo>
                <a:lnTo>
                  <a:pt x="150751" y="102743"/>
                </a:lnTo>
                <a:lnTo>
                  <a:pt x="153291" y="87249"/>
                </a:lnTo>
                <a:lnTo>
                  <a:pt x="151640" y="70485"/>
                </a:lnTo>
                <a:lnTo>
                  <a:pt x="151386" y="56387"/>
                </a:lnTo>
                <a:lnTo>
                  <a:pt x="136908" y="28448"/>
                </a:lnTo>
                <a:lnTo>
                  <a:pt x="114175" y="11937"/>
                </a:lnTo>
                <a:lnTo>
                  <a:pt x="100078" y="5207"/>
                </a:lnTo>
                <a:lnTo>
                  <a:pt x="69090" y="0"/>
                </a:lnTo>
                <a:close/>
              </a:path>
            </a:pathLst>
          </a:custGeom>
          <a:solidFill>
            <a:srgbClr val="D9D9D9"/>
          </a:solidFill>
        </p:spPr>
        <p:txBody>
          <a:bodyPr wrap="square" lIns="0" tIns="0" rIns="0" bIns="0" rtlCol="0"/>
          <a:lstStyle/>
          <a:p>
            <a:endParaRPr/>
          </a:p>
        </p:txBody>
      </p:sp>
      <p:sp>
        <p:nvSpPr>
          <p:cNvPr id="33" name="object 33"/>
          <p:cNvSpPr/>
          <p:nvPr/>
        </p:nvSpPr>
        <p:spPr>
          <a:xfrm>
            <a:off x="9534526" y="2724150"/>
            <a:ext cx="139699" cy="138430"/>
          </a:xfrm>
          <a:custGeom>
            <a:avLst/>
            <a:gdLst/>
            <a:ahLst/>
            <a:cxnLst/>
            <a:rect l="l" t="t" r="r" b="b"/>
            <a:pathLst>
              <a:path w="139700" h="138430">
                <a:moveTo>
                  <a:pt x="77850" y="0"/>
                </a:moveTo>
                <a:lnTo>
                  <a:pt x="63753" y="126"/>
                </a:lnTo>
                <a:lnTo>
                  <a:pt x="51180" y="3175"/>
                </a:lnTo>
                <a:lnTo>
                  <a:pt x="38607" y="6096"/>
                </a:lnTo>
                <a:lnTo>
                  <a:pt x="10922" y="34671"/>
                </a:lnTo>
                <a:lnTo>
                  <a:pt x="0" y="61595"/>
                </a:lnTo>
                <a:lnTo>
                  <a:pt x="253" y="75564"/>
                </a:lnTo>
                <a:lnTo>
                  <a:pt x="16255" y="113284"/>
                </a:lnTo>
                <a:lnTo>
                  <a:pt x="48895" y="135382"/>
                </a:lnTo>
                <a:lnTo>
                  <a:pt x="64516" y="137922"/>
                </a:lnTo>
                <a:lnTo>
                  <a:pt x="78485" y="137667"/>
                </a:lnTo>
                <a:lnTo>
                  <a:pt x="123190" y="114553"/>
                </a:lnTo>
                <a:lnTo>
                  <a:pt x="138175" y="89026"/>
                </a:lnTo>
                <a:lnTo>
                  <a:pt x="138049" y="74929"/>
                </a:lnTo>
                <a:lnTo>
                  <a:pt x="139319" y="63753"/>
                </a:lnTo>
                <a:lnTo>
                  <a:pt x="125983" y="24511"/>
                </a:lnTo>
                <a:lnTo>
                  <a:pt x="93345" y="2539"/>
                </a:lnTo>
                <a:lnTo>
                  <a:pt x="77850" y="0"/>
                </a:lnTo>
                <a:close/>
              </a:path>
            </a:pathLst>
          </a:custGeom>
          <a:solidFill>
            <a:srgbClr val="D9D9D9"/>
          </a:solidFill>
        </p:spPr>
        <p:txBody>
          <a:bodyPr wrap="square" lIns="0" tIns="0" rIns="0" bIns="0" rtlCol="0"/>
          <a:lstStyle/>
          <a:p>
            <a:endParaRPr/>
          </a:p>
        </p:txBody>
      </p:sp>
      <p:sp>
        <p:nvSpPr>
          <p:cNvPr id="34" name="object 34"/>
          <p:cNvSpPr/>
          <p:nvPr/>
        </p:nvSpPr>
        <p:spPr>
          <a:xfrm>
            <a:off x="9534526" y="2724150"/>
            <a:ext cx="139699" cy="138430"/>
          </a:xfrm>
          <a:custGeom>
            <a:avLst/>
            <a:gdLst/>
            <a:ahLst/>
            <a:cxnLst/>
            <a:rect l="l" t="t" r="r" b="b"/>
            <a:pathLst>
              <a:path w="139700" h="138430">
                <a:moveTo>
                  <a:pt x="77850" y="0"/>
                </a:moveTo>
                <a:lnTo>
                  <a:pt x="63753" y="126"/>
                </a:lnTo>
                <a:lnTo>
                  <a:pt x="51180" y="3175"/>
                </a:lnTo>
                <a:lnTo>
                  <a:pt x="38607" y="6096"/>
                </a:lnTo>
                <a:lnTo>
                  <a:pt x="10922" y="34671"/>
                </a:lnTo>
                <a:lnTo>
                  <a:pt x="0" y="61595"/>
                </a:lnTo>
                <a:lnTo>
                  <a:pt x="253" y="75564"/>
                </a:lnTo>
                <a:lnTo>
                  <a:pt x="16255" y="113284"/>
                </a:lnTo>
                <a:lnTo>
                  <a:pt x="48895" y="135382"/>
                </a:lnTo>
                <a:lnTo>
                  <a:pt x="64516" y="137922"/>
                </a:lnTo>
                <a:lnTo>
                  <a:pt x="78485" y="137667"/>
                </a:lnTo>
                <a:lnTo>
                  <a:pt x="123190" y="114553"/>
                </a:lnTo>
                <a:lnTo>
                  <a:pt x="138175" y="89026"/>
                </a:lnTo>
                <a:lnTo>
                  <a:pt x="138049" y="74929"/>
                </a:lnTo>
                <a:lnTo>
                  <a:pt x="139319" y="63753"/>
                </a:lnTo>
                <a:lnTo>
                  <a:pt x="125983" y="24511"/>
                </a:lnTo>
                <a:lnTo>
                  <a:pt x="93345" y="2539"/>
                </a:lnTo>
                <a:lnTo>
                  <a:pt x="77850" y="0"/>
                </a:lnTo>
                <a:close/>
              </a:path>
            </a:pathLst>
          </a:custGeom>
          <a:solidFill>
            <a:srgbClr val="D9D9D9"/>
          </a:solidFill>
        </p:spPr>
        <p:txBody>
          <a:bodyPr wrap="square" lIns="0" tIns="0" rIns="0" bIns="0" rtlCol="0"/>
          <a:lstStyle/>
          <a:p>
            <a:endParaRPr/>
          </a:p>
        </p:txBody>
      </p:sp>
      <p:sp>
        <p:nvSpPr>
          <p:cNvPr id="35" name="object 35"/>
          <p:cNvSpPr/>
          <p:nvPr/>
        </p:nvSpPr>
        <p:spPr>
          <a:xfrm>
            <a:off x="9406002" y="2398648"/>
            <a:ext cx="124461" cy="127000"/>
          </a:xfrm>
          <a:custGeom>
            <a:avLst/>
            <a:gdLst/>
            <a:ahLst/>
            <a:cxnLst/>
            <a:rect l="l" t="t" r="r" b="b"/>
            <a:pathLst>
              <a:path w="124459" h="127000">
                <a:moveTo>
                  <a:pt x="45593" y="1650"/>
                </a:moveTo>
                <a:lnTo>
                  <a:pt x="23241" y="13335"/>
                </a:lnTo>
                <a:lnTo>
                  <a:pt x="14985" y="24637"/>
                </a:lnTo>
                <a:lnTo>
                  <a:pt x="8000" y="31750"/>
                </a:lnTo>
                <a:lnTo>
                  <a:pt x="4064" y="44450"/>
                </a:lnTo>
                <a:lnTo>
                  <a:pt x="0" y="57150"/>
                </a:lnTo>
                <a:lnTo>
                  <a:pt x="253" y="71247"/>
                </a:lnTo>
                <a:lnTo>
                  <a:pt x="20447" y="110362"/>
                </a:lnTo>
                <a:lnTo>
                  <a:pt x="57276" y="126618"/>
                </a:lnTo>
                <a:lnTo>
                  <a:pt x="67055" y="125095"/>
                </a:lnTo>
                <a:lnTo>
                  <a:pt x="81152" y="124840"/>
                </a:lnTo>
                <a:lnTo>
                  <a:pt x="92328" y="119125"/>
                </a:lnTo>
                <a:lnTo>
                  <a:pt x="103377" y="113284"/>
                </a:lnTo>
                <a:lnTo>
                  <a:pt x="108966" y="103377"/>
                </a:lnTo>
                <a:lnTo>
                  <a:pt x="118618" y="94741"/>
                </a:lnTo>
                <a:lnTo>
                  <a:pt x="122681" y="82041"/>
                </a:lnTo>
                <a:lnTo>
                  <a:pt x="123951" y="70865"/>
                </a:lnTo>
                <a:lnTo>
                  <a:pt x="123698" y="56768"/>
                </a:lnTo>
                <a:lnTo>
                  <a:pt x="103377" y="17652"/>
                </a:lnTo>
                <a:lnTo>
                  <a:pt x="78891" y="2921"/>
                </a:lnTo>
                <a:lnTo>
                  <a:pt x="56769" y="2921"/>
                </a:lnTo>
                <a:lnTo>
                  <a:pt x="45593" y="1650"/>
                </a:lnTo>
                <a:close/>
              </a:path>
              <a:path w="124459" h="127000">
                <a:moveTo>
                  <a:pt x="69469" y="0"/>
                </a:moveTo>
                <a:lnTo>
                  <a:pt x="56769" y="2921"/>
                </a:lnTo>
                <a:lnTo>
                  <a:pt x="78891" y="2921"/>
                </a:lnTo>
                <a:lnTo>
                  <a:pt x="69469" y="0"/>
                </a:lnTo>
                <a:close/>
              </a:path>
            </a:pathLst>
          </a:custGeom>
          <a:solidFill>
            <a:srgbClr val="D9D9D9"/>
          </a:solidFill>
        </p:spPr>
        <p:txBody>
          <a:bodyPr wrap="square" lIns="0" tIns="0" rIns="0" bIns="0" rtlCol="0"/>
          <a:lstStyle/>
          <a:p>
            <a:endParaRPr/>
          </a:p>
        </p:txBody>
      </p:sp>
      <p:sp>
        <p:nvSpPr>
          <p:cNvPr id="36" name="object 36"/>
          <p:cNvSpPr/>
          <p:nvPr/>
        </p:nvSpPr>
        <p:spPr>
          <a:xfrm>
            <a:off x="9406002" y="2398648"/>
            <a:ext cx="124461" cy="127000"/>
          </a:xfrm>
          <a:custGeom>
            <a:avLst/>
            <a:gdLst/>
            <a:ahLst/>
            <a:cxnLst/>
            <a:rect l="l" t="t" r="r" b="b"/>
            <a:pathLst>
              <a:path w="124459" h="127000">
                <a:moveTo>
                  <a:pt x="45593" y="1650"/>
                </a:moveTo>
                <a:lnTo>
                  <a:pt x="23241" y="13335"/>
                </a:lnTo>
                <a:lnTo>
                  <a:pt x="14985" y="24637"/>
                </a:lnTo>
                <a:lnTo>
                  <a:pt x="8000" y="31750"/>
                </a:lnTo>
                <a:lnTo>
                  <a:pt x="4064" y="44450"/>
                </a:lnTo>
                <a:lnTo>
                  <a:pt x="0" y="57150"/>
                </a:lnTo>
                <a:lnTo>
                  <a:pt x="253" y="71247"/>
                </a:lnTo>
                <a:lnTo>
                  <a:pt x="20447" y="110362"/>
                </a:lnTo>
                <a:lnTo>
                  <a:pt x="57276" y="126618"/>
                </a:lnTo>
                <a:lnTo>
                  <a:pt x="67055" y="125095"/>
                </a:lnTo>
                <a:lnTo>
                  <a:pt x="81152" y="124840"/>
                </a:lnTo>
                <a:lnTo>
                  <a:pt x="92328" y="119125"/>
                </a:lnTo>
                <a:lnTo>
                  <a:pt x="103377" y="113284"/>
                </a:lnTo>
                <a:lnTo>
                  <a:pt x="108966" y="103377"/>
                </a:lnTo>
                <a:lnTo>
                  <a:pt x="118618" y="94741"/>
                </a:lnTo>
                <a:lnTo>
                  <a:pt x="122681" y="82041"/>
                </a:lnTo>
                <a:lnTo>
                  <a:pt x="123951" y="70865"/>
                </a:lnTo>
                <a:lnTo>
                  <a:pt x="123698" y="56768"/>
                </a:lnTo>
                <a:lnTo>
                  <a:pt x="103377" y="17652"/>
                </a:lnTo>
                <a:lnTo>
                  <a:pt x="78891" y="2921"/>
                </a:lnTo>
                <a:lnTo>
                  <a:pt x="56769" y="2921"/>
                </a:lnTo>
                <a:lnTo>
                  <a:pt x="45593" y="1650"/>
                </a:lnTo>
                <a:close/>
              </a:path>
              <a:path w="124459" h="127000">
                <a:moveTo>
                  <a:pt x="69469" y="0"/>
                </a:moveTo>
                <a:lnTo>
                  <a:pt x="56769" y="2921"/>
                </a:lnTo>
                <a:lnTo>
                  <a:pt x="78891" y="2921"/>
                </a:lnTo>
                <a:lnTo>
                  <a:pt x="69469" y="0"/>
                </a:lnTo>
                <a:close/>
              </a:path>
            </a:pathLst>
          </a:custGeom>
          <a:solidFill>
            <a:srgbClr val="D9D9D9"/>
          </a:solidFill>
        </p:spPr>
        <p:txBody>
          <a:bodyPr wrap="square" lIns="0" tIns="0" rIns="0" bIns="0" rtlCol="0"/>
          <a:lstStyle/>
          <a:p>
            <a:endParaRPr/>
          </a:p>
        </p:txBody>
      </p:sp>
      <p:sp>
        <p:nvSpPr>
          <p:cNvPr id="37" name="object 37"/>
          <p:cNvSpPr/>
          <p:nvPr/>
        </p:nvSpPr>
        <p:spPr>
          <a:xfrm>
            <a:off x="9220327" y="2103627"/>
            <a:ext cx="114300" cy="114300"/>
          </a:xfrm>
          <a:custGeom>
            <a:avLst/>
            <a:gdLst/>
            <a:ahLst/>
            <a:cxnLst/>
            <a:rect l="l" t="t" r="r" b="b"/>
            <a:pathLst>
              <a:path w="114300" h="114300">
                <a:moveTo>
                  <a:pt x="52450" y="0"/>
                </a:moveTo>
                <a:lnTo>
                  <a:pt x="13462" y="20193"/>
                </a:lnTo>
                <a:lnTo>
                  <a:pt x="0" y="62611"/>
                </a:lnTo>
                <a:lnTo>
                  <a:pt x="1524" y="72389"/>
                </a:lnTo>
                <a:lnTo>
                  <a:pt x="7366" y="83566"/>
                </a:lnTo>
                <a:lnTo>
                  <a:pt x="11683" y="91948"/>
                </a:lnTo>
                <a:lnTo>
                  <a:pt x="18796" y="98806"/>
                </a:lnTo>
                <a:lnTo>
                  <a:pt x="30225" y="107061"/>
                </a:lnTo>
                <a:lnTo>
                  <a:pt x="38734" y="109855"/>
                </a:lnTo>
                <a:lnTo>
                  <a:pt x="51434" y="113792"/>
                </a:lnTo>
                <a:lnTo>
                  <a:pt x="61214" y="112268"/>
                </a:lnTo>
                <a:lnTo>
                  <a:pt x="73787" y="109220"/>
                </a:lnTo>
                <a:lnTo>
                  <a:pt x="83693" y="107696"/>
                </a:lnTo>
                <a:lnTo>
                  <a:pt x="90550" y="100584"/>
                </a:lnTo>
                <a:lnTo>
                  <a:pt x="100202" y="92075"/>
                </a:lnTo>
                <a:lnTo>
                  <a:pt x="107188" y="84836"/>
                </a:lnTo>
                <a:lnTo>
                  <a:pt x="113919" y="63754"/>
                </a:lnTo>
                <a:lnTo>
                  <a:pt x="113665" y="49657"/>
                </a:lnTo>
                <a:lnTo>
                  <a:pt x="112141" y="39877"/>
                </a:lnTo>
                <a:lnTo>
                  <a:pt x="75056" y="2412"/>
                </a:lnTo>
                <a:lnTo>
                  <a:pt x="63753" y="1143"/>
                </a:lnTo>
                <a:lnTo>
                  <a:pt x="52450" y="0"/>
                </a:lnTo>
                <a:close/>
              </a:path>
            </a:pathLst>
          </a:custGeom>
          <a:solidFill>
            <a:srgbClr val="D9D9D9"/>
          </a:solidFill>
        </p:spPr>
        <p:txBody>
          <a:bodyPr wrap="square" lIns="0" tIns="0" rIns="0" bIns="0" rtlCol="0"/>
          <a:lstStyle/>
          <a:p>
            <a:endParaRPr/>
          </a:p>
        </p:txBody>
      </p:sp>
      <p:sp>
        <p:nvSpPr>
          <p:cNvPr id="38" name="object 38"/>
          <p:cNvSpPr/>
          <p:nvPr/>
        </p:nvSpPr>
        <p:spPr>
          <a:xfrm>
            <a:off x="9220327" y="2103627"/>
            <a:ext cx="114300" cy="114300"/>
          </a:xfrm>
          <a:custGeom>
            <a:avLst/>
            <a:gdLst/>
            <a:ahLst/>
            <a:cxnLst/>
            <a:rect l="l" t="t" r="r" b="b"/>
            <a:pathLst>
              <a:path w="114300" h="114300">
                <a:moveTo>
                  <a:pt x="52450" y="0"/>
                </a:moveTo>
                <a:lnTo>
                  <a:pt x="13462" y="20193"/>
                </a:lnTo>
                <a:lnTo>
                  <a:pt x="0" y="62611"/>
                </a:lnTo>
                <a:lnTo>
                  <a:pt x="1524" y="72389"/>
                </a:lnTo>
                <a:lnTo>
                  <a:pt x="7366" y="83566"/>
                </a:lnTo>
                <a:lnTo>
                  <a:pt x="11683" y="91948"/>
                </a:lnTo>
                <a:lnTo>
                  <a:pt x="18796" y="98806"/>
                </a:lnTo>
                <a:lnTo>
                  <a:pt x="30225" y="107061"/>
                </a:lnTo>
                <a:lnTo>
                  <a:pt x="38734" y="109855"/>
                </a:lnTo>
                <a:lnTo>
                  <a:pt x="51434" y="113792"/>
                </a:lnTo>
                <a:lnTo>
                  <a:pt x="61214" y="112268"/>
                </a:lnTo>
                <a:lnTo>
                  <a:pt x="73787" y="109220"/>
                </a:lnTo>
                <a:lnTo>
                  <a:pt x="83693" y="107696"/>
                </a:lnTo>
                <a:lnTo>
                  <a:pt x="90550" y="100584"/>
                </a:lnTo>
                <a:lnTo>
                  <a:pt x="100202" y="92075"/>
                </a:lnTo>
                <a:lnTo>
                  <a:pt x="107188" y="84836"/>
                </a:lnTo>
                <a:lnTo>
                  <a:pt x="113919" y="63754"/>
                </a:lnTo>
                <a:lnTo>
                  <a:pt x="113665" y="49657"/>
                </a:lnTo>
                <a:lnTo>
                  <a:pt x="112141" y="39877"/>
                </a:lnTo>
                <a:lnTo>
                  <a:pt x="75056" y="2412"/>
                </a:lnTo>
                <a:lnTo>
                  <a:pt x="63753" y="1143"/>
                </a:lnTo>
                <a:lnTo>
                  <a:pt x="52450" y="0"/>
                </a:lnTo>
                <a:close/>
              </a:path>
            </a:pathLst>
          </a:custGeom>
          <a:solidFill>
            <a:srgbClr val="D9D9D9"/>
          </a:solidFill>
        </p:spPr>
        <p:txBody>
          <a:bodyPr wrap="square" lIns="0" tIns="0" rIns="0" bIns="0" rtlCol="0"/>
          <a:lstStyle/>
          <a:p>
            <a:endParaRPr/>
          </a:p>
        </p:txBody>
      </p:sp>
      <p:sp>
        <p:nvSpPr>
          <p:cNvPr id="39" name="object 39"/>
          <p:cNvSpPr/>
          <p:nvPr/>
        </p:nvSpPr>
        <p:spPr>
          <a:xfrm>
            <a:off x="8985758" y="1845564"/>
            <a:ext cx="101599" cy="102870"/>
          </a:xfrm>
          <a:custGeom>
            <a:avLst/>
            <a:gdLst/>
            <a:ahLst/>
            <a:cxnLst/>
            <a:rect l="l" t="t" r="r" b="b"/>
            <a:pathLst>
              <a:path w="101600" h="102869">
                <a:moveTo>
                  <a:pt x="54101" y="0"/>
                </a:moveTo>
                <a:lnTo>
                  <a:pt x="17780" y="11811"/>
                </a:lnTo>
                <a:lnTo>
                  <a:pt x="0" y="45847"/>
                </a:lnTo>
                <a:lnTo>
                  <a:pt x="4572" y="75184"/>
                </a:lnTo>
                <a:lnTo>
                  <a:pt x="18923" y="89026"/>
                </a:lnTo>
                <a:lnTo>
                  <a:pt x="26035" y="96012"/>
                </a:lnTo>
                <a:lnTo>
                  <a:pt x="34544" y="98678"/>
                </a:lnTo>
                <a:lnTo>
                  <a:pt x="45720" y="99949"/>
                </a:lnTo>
                <a:lnTo>
                  <a:pt x="54228" y="102615"/>
                </a:lnTo>
                <a:lnTo>
                  <a:pt x="64008" y="101091"/>
                </a:lnTo>
                <a:lnTo>
                  <a:pt x="83566" y="90932"/>
                </a:lnTo>
                <a:lnTo>
                  <a:pt x="90550" y="83820"/>
                </a:lnTo>
                <a:lnTo>
                  <a:pt x="93218" y="75311"/>
                </a:lnTo>
                <a:lnTo>
                  <a:pt x="98678" y="65405"/>
                </a:lnTo>
                <a:lnTo>
                  <a:pt x="101346" y="56896"/>
                </a:lnTo>
                <a:lnTo>
                  <a:pt x="98298" y="37337"/>
                </a:lnTo>
                <a:lnTo>
                  <a:pt x="96647" y="27432"/>
                </a:lnTo>
                <a:lnTo>
                  <a:pt x="89535" y="20574"/>
                </a:lnTo>
                <a:lnTo>
                  <a:pt x="82423" y="13588"/>
                </a:lnTo>
                <a:lnTo>
                  <a:pt x="75311" y="6731"/>
                </a:lnTo>
                <a:lnTo>
                  <a:pt x="65405" y="1270"/>
                </a:lnTo>
                <a:lnTo>
                  <a:pt x="54101" y="0"/>
                </a:lnTo>
                <a:close/>
              </a:path>
            </a:pathLst>
          </a:custGeom>
          <a:solidFill>
            <a:srgbClr val="D9D9D9"/>
          </a:solidFill>
        </p:spPr>
        <p:txBody>
          <a:bodyPr wrap="square" lIns="0" tIns="0" rIns="0" bIns="0" rtlCol="0"/>
          <a:lstStyle/>
          <a:p>
            <a:endParaRPr/>
          </a:p>
        </p:txBody>
      </p:sp>
      <p:sp>
        <p:nvSpPr>
          <p:cNvPr id="40" name="object 40"/>
          <p:cNvSpPr/>
          <p:nvPr/>
        </p:nvSpPr>
        <p:spPr>
          <a:xfrm>
            <a:off x="8985758" y="1845564"/>
            <a:ext cx="101599" cy="102870"/>
          </a:xfrm>
          <a:custGeom>
            <a:avLst/>
            <a:gdLst/>
            <a:ahLst/>
            <a:cxnLst/>
            <a:rect l="l" t="t" r="r" b="b"/>
            <a:pathLst>
              <a:path w="101600" h="102869">
                <a:moveTo>
                  <a:pt x="54101" y="0"/>
                </a:moveTo>
                <a:lnTo>
                  <a:pt x="17780" y="11811"/>
                </a:lnTo>
                <a:lnTo>
                  <a:pt x="0" y="45847"/>
                </a:lnTo>
                <a:lnTo>
                  <a:pt x="4572" y="75184"/>
                </a:lnTo>
                <a:lnTo>
                  <a:pt x="18923" y="89026"/>
                </a:lnTo>
                <a:lnTo>
                  <a:pt x="26035" y="96012"/>
                </a:lnTo>
                <a:lnTo>
                  <a:pt x="34544" y="98678"/>
                </a:lnTo>
                <a:lnTo>
                  <a:pt x="45720" y="99949"/>
                </a:lnTo>
                <a:lnTo>
                  <a:pt x="54228" y="102615"/>
                </a:lnTo>
                <a:lnTo>
                  <a:pt x="64008" y="101091"/>
                </a:lnTo>
                <a:lnTo>
                  <a:pt x="83566" y="90932"/>
                </a:lnTo>
                <a:lnTo>
                  <a:pt x="90550" y="83820"/>
                </a:lnTo>
                <a:lnTo>
                  <a:pt x="93218" y="75311"/>
                </a:lnTo>
                <a:lnTo>
                  <a:pt x="98678" y="65405"/>
                </a:lnTo>
                <a:lnTo>
                  <a:pt x="101346" y="56896"/>
                </a:lnTo>
                <a:lnTo>
                  <a:pt x="98298" y="37337"/>
                </a:lnTo>
                <a:lnTo>
                  <a:pt x="96647" y="27432"/>
                </a:lnTo>
                <a:lnTo>
                  <a:pt x="89535" y="20574"/>
                </a:lnTo>
                <a:lnTo>
                  <a:pt x="82423" y="13588"/>
                </a:lnTo>
                <a:lnTo>
                  <a:pt x="75311" y="6731"/>
                </a:lnTo>
                <a:lnTo>
                  <a:pt x="65405" y="1270"/>
                </a:lnTo>
                <a:lnTo>
                  <a:pt x="54101" y="0"/>
                </a:lnTo>
                <a:close/>
              </a:path>
            </a:pathLst>
          </a:custGeom>
          <a:solidFill>
            <a:srgbClr val="D9D9D9"/>
          </a:solidFill>
        </p:spPr>
        <p:txBody>
          <a:bodyPr wrap="square" lIns="0" tIns="0" rIns="0" bIns="0" rtlCol="0"/>
          <a:lstStyle/>
          <a:p>
            <a:endParaRPr/>
          </a:p>
        </p:txBody>
      </p:sp>
      <p:sp>
        <p:nvSpPr>
          <p:cNvPr id="41" name="object 41"/>
          <p:cNvSpPr/>
          <p:nvPr/>
        </p:nvSpPr>
        <p:spPr>
          <a:xfrm>
            <a:off x="8707119" y="1631950"/>
            <a:ext cx="91441" cy="91440"/>
          </a:xfrm>
          <a:custGeom>
            <a:avLst/>
            <a:gdLst/>
            <a:ahLst/>
            <a:cxnLst/>
            <a:rect l="l" t="t" r="r" b="b"/>
            <a:pathLst>
              <a:path w="91440" h="91439">
                <a:moveTo>
                  <a:pt x="41401" y="0"/>
                </a:moveTo>
                <a:lnTo>
                  <a:pt x="23240" y="5969"/>
                </a:lnTo>
                <a:lnTo>
                  <a:pt x="10668" y="16001"/>
                </a:lnTo>
                <a:lnTo>
                  <a:pt x="2539" y="34416"/>
                </a:lnTo>
                <a:lnTo>
                  <a:pt x="0" y="49911"/>
                </a:lnTo>
                <a:lnTo>
                  <a:pt x="5841" y="68072"/>
                </a:lnTo>
                <a:lnTo>
                  <a:pt x="15875" y="80517"/>
                </a:lnTo>
                <a:lnTo>
                  <a:pt x="31496" y="90170"/>
                </a:lnTo>
                <a:lnTo>
                  <a:pt x="49783" y="91312"/>
                </a:lnTo>
                <a:lnTo>
                  <a:pt x="65150" y="86867"/>
                </a:lnTo>
                <a:lnTo>
                  <a:pt x="80518" y="75437"/>
                </a:lnTo>
                <a:lnTo>
                  <a:pt x="90043" y="59816"/>
                </a:lnTo>
                <a:lnTo>
                  <a:pt x="91185" y="41528"/>
                </a:lnTo>
                <a:lnTo>
                  <a:pt x="86740" y="26035"/>
                </a:lnTo>
                <a:lnTo>
                  <a:pt x="75310" y="10795"/>
                </a:lnTo>
                <a:lnTo>
                  <a:pt x="61086" y="3937"/>
                </a:lnTo>
                <a:lnTo>
                  <a:pt x="41401" y="0"/>
                </a:lnTo>
                <a:close/>
              </a:path>
            </a:pathLst>
          </a:custGeom>
          <a:solidFill>
            <a:srgbClr val="D9D9D9"/>
          </a:solidFill>
        </p:spPr>
        <p:txBody>
          <a:bodyPr wrap="square" lIns="0" tIns="0" rIns="0" bIns="0" rtlCol="0"/>
          <a:lstStyle/>
          <a:p>
            <a:endParaRPr/>
          </a:p>
        </p:txBody>
      </p:sp>
      <p:sp>
        <p:nvSpPr>
          <p:cNvPr id="42" name="object 42"/>
          <p:cNvSpPr/>
          <p:nvPr/>
        </p:nvSpPr>
        <p:spPr>
          <a:xfrm>
            <a:off x="8707119" y="1631950"/>
            <a:ext cx="91441" cy="91440"/>
          </a:xfrm>
          <a:custGeom>
            <a:avLst/>
            <a:gdLst/>
            <a:ahLst/>
            <a:cxnLst/>
            <a:rect l="l" t="t" r="r" b="b"/>
            <a:pathLst>
              <a:path w="91440" h="91439">
                <a:moveTo>
                  <a:pt x="41401" y="0"/>
                </a:moveTo>
                <a:lnTo>
                  <a:pt x="23240" y="5969"/>
                </a:lnTo>
                <a:lnTo>
                  <a:pt x="10668" y="16001"/>
                </a:lnTo>
                <a:lnTo>
                  <a:pt x="2539" y="34416"/>
                </a:lnTo>
                <a:lnTo>
                  <a:pt x="0" y="49911"/>
                </a:lnTo>
                <a:lnTo>
                  <a:pt x="5841" y="68072"/>
                </a:lnTo>
                <a:lnTo>
                  <a:pt x="15875" y="80517"/>
                </a:lnTo>
                <a:lnTo>
                  <a:pt x="31496" y="90170"/>
                </a:lnTo>
                <a:lnTo>
                  <a:pt x="49783" y="91312"/>
                </a:lnTo>
                <a:lnTo>
                  <a:pt x="65150" y="86867"/>
                </a:lnTo>
                <a:lnTo>
                  <a:pt x="80518" y="75437"/>
                </a:lnTo>
                <a:lnTo>
                  <a:pt x="90043" y="59816"/>
                </a:lnTo>
                <a:lnTo>
                  <a:pt x="91185" y="41528"/>
                </a:lnTo>
                <a:lnTo>
                  <a:pt x="86740" y="26035"/>
                </a:lnTo>
                <a:lnTo>
                  <a:pt x="75310" y="10795"/>
                </a:lnTo>
                <a:lnTo>
                  <a:pt x="61086" y="3937"/>
                </a:lnTo>
                <a:lnTo>
                  <a:pt x="41401" y="0"/>
                </a:lnTo>
                <a:close/>
              </a:path>
            </a:pathLst>
          </a:custGeom>
          <a:solidFill>
            <a:srgbClr val="D9D9D9"/>
          </a:solidFill>
        </p:spPr>
        <p:txBody>
          <a:bodyPr wrap="square" lIns="0" tIns="0" rIns="0" bIns="0" rtlCol="0"/>
          <a:lstStyle/>
          <a:p>
            <a:endParaRPr/>
          </a:p>
        </p:txBody>
      </p:sp>
      <p:sp>
        <p:nvSpPr>
          <p:cNvPr id="43" name="object 43"/>
          <p:cNvSpPr/>
          <p:nvPr/>
        </p:nvSpPr>
        <p:spPr>
          <a:xfrm>
            <a:off x="8395462" y="1473454"/>
            <a:ext cx="81914" cy="81915"/>
          </a:xfrm>
          <a:custGeom>
            <a:avLst/>
            <a:gdLst/>
            <a:ahLst/>
            <a:cxnLst/>
            <a:rect l="l" t="t" r="r" b="b"/>
            <a:pathLst>
              <a:path w="81915" h="81915">
                <a:moveTo>
                  <a:pt x="51308" y="0"/>
                </a:moveTo>
                <a:lnTo>
                  <a:pt x="9398" y="14605"/>
                </a:lnTo>
                <a:lnTo>
                  <a:pt x="0" y="44323"/>
                </a:lnTo>
                <a:lnTo>
                  <a:pt x="4445" y="59690"/>
                </a:lnTo>
                <a:lnTo>
                  <a:pt x="14351" y="72262"/>
                </a:lnTo>
                <a:lnTo>
                  <a:pt x="28575" y="78994"/>
                </a:lnTo>
                <a:lnTo>
                  <a:pt x="44069" y="81661"/>
                </a:lnTo>
                <a:lnTo>
                  <a:pt x="59436" y="77216"/>
                </a:lnTo>
                <a:lnTo>
                  <a:pt x="72009" y="67183"/>
                </a:lnTo>
                <a:lnTo>
                  <a:pt x="78740" y="52959"/>
                </a:lnTo>
                <a:lnTo>
                  <a:pt x="81407" y="37465"/>
                </a:lnTo>
                <a:lnTo>
                  <a:pt x="76962" y="22098"/>
                </a:lnTo>
                <a:lnTo>
                  <a:pt x="66929" y="9525"/>
                </a:lnTo>
                <a:lnTo>
                  <a:pt x="51308" y="0"/>
                </a:lnTo>
                <a:close/>
              </a:path>
            </a:pathLst>
          </a:custGeom>
          <a:solidFill>
            <a:srgbClr val="D9D9D9"/>
          </a:solidFill>
        </p:spPr>
        <p:txBody>
          <a:bodyPr wrap="square" lIns="0" tIns="0" rIns="0" bIns="0" rtlCol="0"/>
          <a:lstStyle/>
          <a:p>
            <a:endParaRPr/>
          </a:p>
        </p:txBody>
      </p:sp>
      <p:sp>
        <p:nvSpPr>
          <p:cNvPr id="44" name="object 44"/>
          <p:cNvSpPr/>
          <p:nvPr/>
        </p:nvSpPr>
        <p:spPr>
          <a:xfrm>
            <a:off x="8395462" y="1473454"/>
            <a:ext cx="81914" cy="81915"/>
          </a:xfrm>
          <a:custGeom>
            <a:avLst/>
            <a:gdLst/>
            <a:ahLst/>
            <a:cxnLst/>
            <a:rect l="l" t="t" r="r" b="b"/>
            <a:pathLst>
              <a:path w="81915" h="81915">
                <a:moveTo>
                  <a:pt x="51308" y="0"/>
                </a:moveTo>
                <a:lnTo>
                  <a:pt x="9398" y="14605"/>
                </a:lnTo>
                <a:lnTo>
                  <a:pt x="0" y="44323"/>
                </a:lnTo>
                <a:lnTo>
                  <a:pt x="4445" y="59690"/>
                </a:lnTo>
                <a:lnTo>
                  <a:pt x="14351" y="72262"/>
                </a:lnTo>
                <a:lnTo>
                  <a:pt x="28575" y="78994"/>
                </a:lnTo>
                <a:lnTo>
                  <a:pt x="44069" y="81661"/>
                </a:lnTo>
                <a:lnTo>
                  <a:pt x="59436" y="77216"/>
                </a:lnTo>
                <a:lnTo>
                  <a:pt x="72009" y="67183"/>
                </a:lnTo>
                <a:lnTo>
                  <a:pt x="78740" y="52959"/>
                </a:lnTo>
                <a:lnTo>
                  <a:pt x="81407" y="37465"/>
                </a:lnTo>
                <a:lnTo>
                  <a:pt x="76962" y="22098"/>
                </a:lnTo>
                <a:lnTo>
                  <a:pt x="66929" y="9525"/>
                </a:lnTo>
                <a:lnTo>
                  <a:pt x="51308" y="0"/>
                </a:lnTo>
                <a:close/>
              </a:path>
            </a:pathLst>
          </a:custGeom>
          <a:solidFill>
            <a:srgbClr val="D9D9D9"/>
          </a:solidFill>
        </p:spPr>
        <p:txBody>
          <a:bodyPr wrap="square" lIns="0" tIns="0" rIns="0" bIns="0" rtlCol="0"/>
          <a:lstStyle/>
          <a:p>
            <a:endParaRPr/>
          </a:p>
        </p:txBody>
      </p:sp>
      <p:sp>
        <p:nvSpPr>
          <p:cNvPr id="45" name="object 45"/>
          <p:cNvSpPr/>
          <p:nvPr/>
        </p:nvSpPr>
        <p:spPr>
          <a:xfrm>
            <a:off x="8059040" y="1367663"/>
            <a:ext cx="74931" cy="74930"/>
          </a:xfrm>
          <a:custGeom>
            <a:avLst/>
            <a:gdLst/>
            <a:ahLst/>
            <a:cxnLst/>
            <a:rect l="l" t="t" r="r" b="b"/>
            <a:pathLst>
              <a:path w="74929" h="74930">
                <a:moveTo>
                  <a:pt x="31876" y="0"/>
                </a:moveTo>
                <a:lnTo>
                  <a:pt x="19303" y="2921"/>
                </a:lnTo>
                <a:lnTo>
                  <a:pt x="6730" y="12953"/>
                </a:lnTo>
                <a:lnTo>
                  <a:pt x="0" y="27177"/>
                </a:lnTo>
                <a:lnTo>
                  <a:pt x="126" y="41275"/>
                </a:lnTo>
                <a:lnTo>
                  <a:pt x="3175" y="53848"/>
                </a:lnTo>
                <a:lnTo>
                  <a:pt x="13207" y="66294"/>
                </a:lnTo>
                <a:lnTo>
                  <a:pt x="23113" y="71754"/>
                </a:lnTo>
                <a:lnTo>
                  <a:pt x="38607" y="74422"/>
                </a:lnTo>
                <a:lnTo>
                  <a:pt x="53975" y="69976"/>
                </a:lnTo>
                <a:lnTo>
                  <a:pt x="63753" y="61340"/>
                </a:lnTo>
                <a:lnTo>
                  <a:pt x="70611" y="47244"/>
                </a:lnTo>
                <a:lnTo>
                  <a:pt x="74549" y="34544"/>
                </a:lnTo>
                <a:lnTo>
                  <a:pt x="70103" y="19050"/>
                </a:lnTo>
                <a:lnTo>
                  <a:pt x="61594" y="9398"/>
                </a:lnTo>
                <a:lnTo>
                  <a:pt x="47370" y="2539"/>
                </a:lnTo>
                <a:lnTo>
                  <a:pt x="31876" y="0"/>
                </a:lnTo>
                <a:close/>
              </a:path>
            </a:pathLst>
          </a:custGeom>
          <a:solidFill>
            <a:srgbClr val="D9D9D9"/>
          </a:solidFill>
        </p:spPr>
        <p:txBody>
          <a:bodyPr wrap="square" lIns="0" tIns="0" rIns="0" bIns="0" rtlCol="0"/>
          <a:lstStyle/>
          <a:p>
            <a:endParaRPr/>
          </a:p>
        </p:txBody>
      </p:sp>
      <p:sp>
        <p:nvSpPr>
          <p:cNvPr id="46" name="object 46"/>
          <p:cNvSpPr/>
          <p:nvPr/>
        </p:nvSpPr>
        <p:spPr>
          <a:xfrm>
            <a:off x="8059040" y="1367663"/>
            <a:ext cx="74931" cy="74930"/>
          </a:xfrm>
          <a:custGeom>
            <a:avLst/>
            <a:gdLst/>
            <a:ahLst/>
            <a:cxnLst/>
            <a:rect l="l" t="t" r="r" b="b"/>
            <a:pathLst>
              <a:path w="74929" h="74930">
                <a:moveTo>
                  <a:pt x="31876" y="0"/>
                </a:moveTo>
                <a:lnTo>
                  <a:pt x="19303" y="2921"/>
                </a:lnTo>
                <a:lnTo>
                  <a:pt x="6730" y="12953"/>
                </a:lnTo>
                <a:lnTo>
                  <a:pt x="0" y="27177"/>
                </a:lnTo>
                <a:lnTo>
                  <a:pt x="126" y="41275"/>
                </a:lnTo>
                <a:lnTo>
                  <a:pt x="3175" y="53848"/>
                </a:lnTo>
                <a:lnTo>
                  <a:pt x="13207" y="66294"/>
                </a:lnTo>
                <a:lnTo>
                  <a:pt x="23113" y="71754"/>
                </a:lnTo>
                <a:lnTo>
                  <a:pt x="38607" y="74422"/>
                </a:lnTo>
                <a:lnTo>
                  <a:pt x="53975" y="69976"/>
                </a:lnTo>
                <a:lnTo>
                  <a:pt x="63753" y="61340"/>
                </a:lnTo>
                <a:lnTo>
                  <a:pt x="70611" y="47244"/>
                </a:lnTo>
                <a:lnTo>
                  <a:pt x="74549" y="34544"/>
                </a:lnTo>
                <a:lnTo>
                  <a:pt x="70103" y="19050"/>
                </a:lnTo>
                <a:lnTo>
                  <a:pt x="61594" y="9398"/>
                </a:lnTo>
                <a:lnTo>
                  <a:pt x="47370" y="2539"/>
                </a:lnTo>
                <a:lnTo>
                  <a:pt x="31876" y="0"/>
                </a:lnTo>
                <a:close/>
              </a:path>
            </a:pathLst>
          </a:custGeom>
          <a:solidFill>
            <a:srgbClr val="D9D9D9"/>
          </a:solidFill>
        </p:spPr>
        <p:txBody>
          <a:bodyPr wrap="square" lIns="0" tIns="0" rIns="0" bIns="0" rtlCol="0"/>
          <a:lstStyle/>
          <a:p>
            <a:endParaRPr/>
          </a:p>
        </p:txBody>
      </p:sp>
      <p:sp>
        <p:nvSpPr>
          <p:cNvPr id="47" name="object 47"/>
          <p:cNvSpPr/>
          <p:nvPr/>
        </p:nvSpPr>
        <p:spPr>
          <a:xfrm>
            <a:off x="9297034" y="3099943"/>
            <a:ext cx="161925" cy="161925"/>
          </a:xfrm>
          <a:custGeom>
            <a:avLst/>
            <a:gdLst/>
            <a:ahLst/>
            <a:cxnLst/>
            <a:rect l="l" t="t" r="r" b="b"/>
            <a:pathLst>
              <a:path w="161925" h="161925">
                <a:moveTo>
                  <a:pt x="89026" y="0"/>
                </a:moveTo>
                <a:lnTo>
                  <a:pt x="46990" y="7620"/>
                </a:lnTo>
                <a:lnTo>
                  <a:pt x="12192" y="36322"/>
                </a:lnTo>
                <a:lnTo>
                  <a:pt x="0" y="67437"/>
                </a:lnTo>
                <a:lnTo>
                  <a:pt x="254" y="81534"/>
                </a:lnTo>
                <a:lnTo>
                  <a:pt x="9271" y="119253"/>
                </a:lnTo>
                <a:lnTo>
                  <a:pt x="34925" y="148462"/>
                </a:lnTo>
                <a:lnTo>
                  <a:pt x="70358" y="161925"/>
                </a:lnTo>
                <a:lnTo>
                  <a:pt x="98425" y="161544"/>
                </a:lnTo>
                <a:lnTo>
                  <a:pt x="126365" y="147066"/>
                </a:lnTo>
                <a:lnTo>
                  <a:pt x="138811" y="137033"/>
                </a:lnTo>
                <a:lnTo>
                  <a:pt x="147066" y="125730"/>
                </a:lnTo>
                <a:lnTo>
                  <a:pt x="153924" y="111506"/>
                </a:lnTo>
                <a:lnTo>
                  <a:pt x="160782" y="97409"/>
                </a:lnTo>
                <a:lnTo>
                  <a:pt x="151511" y="45466"/>
                </a:lnTo>
                <a:lnTo>
                  <a:pt x="125730" y="16383"/>
                </a:lnTo>
                <a:lnTo>
                  <a:pt x="114426" y="8128"/>
                </a:lnTo>
                <a:lnTo>
                  <a:pt x="89026" y="0"/>
                </a:lnTo>
                <a:close/>
              </a:path>
            </a:pathLst>
          </a:custGeom>
          <a:solidFill>
            <a:srgbClr val="D9D9D9"/>
          </a:solidFill>
        </p:spPr>
        <p:txBody>
          <a:bodyPr wrap="square" lIns="0" tIns="0" rIns="0" bIns="0" rtlCol="0"/>
          <a:lstStyle/>
          <a:p>
            <a:endParaRPr/>
          </a:p>
        </p:txBody>
      </p:sp>
      <p:sp>
        <p:nvSpPr>
          <p:cNvPr id="48" name="object 48"/>
          <p:cNvSpPr/>
          <p:nvPr/>
        </p:nvSpPr>
        <p:spPr>
          <a:xfrm>
            <a:off x="9297034" y="3099943"/>
            <a:ext cx="161925" cy="161925"/>
          </a:xfrm>
          <a:custGeom>
            <a:avLst/>
            <a:gdLst/>
            <a:ahLst/>
            <a:cxnLst/>
            <a:rect l="l" t="t" r="r" b="b"/>
            <a:pathLst>
              <a:path w="161925" h="161925">
                <a:moveTo>
                  <a:pt x="89026" y="0"/>
                </a:moveTo>
                <a:lnTo>
                  <a:pt x="46990" y="7620"/>
                </a:lnTo>
                <a:lnTo>
                  <a:pt x="12192" y="36322"/>
                </a:lnTo>
                <a:lnTo>
                  <a:pt x="0" y="67437"/>
                </a:lnTo>
                <a:lnTo>
                  <a:pt x="254" y="81534"/>
                </a:lnTo>
                <a:lnTo>
                  <a:pt x="9271" y="119253"/>
                </a:lnTo>
                <a:lnTo>
                  <a:pt x="34925" y="148462"/>
                </a:lnTo>
                <a:lnTo>
                  <a:pt x="70358" y="161925"/>
                </a:lnTo>
                <a:lnTo>
                  <a:pt x="98425" y="161544"/>
                </a:lnTo>
                <a:lnTo>
                  <a:pt x="126365" y="147066"/>
                </a:lnTo>
                <a:lnTo>
                  <a:pt x="138811" y="137033"/>
                </a:lnTo>
                <a:lnTo>
                  <a:pt x="147066" y="125730"/>
                </a:lnTo>
                <a:lnTo>
                  <a:pt x="153924" y="111506"/>
                </a:lnTo>
                <a:lnTo>
                  <a:pt x="160782" y="97409"/>
                </a:lnTo>
                <a:lnTo>
                  <a:pt x="151511" y="45466"/>
                </a:lnTo>
                <a:lnTo>
                  <a:pt x="125730" y="16383"/>
                </a:lnTo>
                <a:lnTo>
                  <a:pt x="114426" y="8128"/>
                </a:lnTo>
                <a:lnTo>
                  <a:pt x="89026" y="0"/>
                </a:lnTo>
                <a:close/>
              </a:path>
            </a:pathLst>
          </a:custGeom>
          <a:solidFill>
            <a:srgbClr val="D9D9D9"/>
          </a:solidFill>
        </p:spPr>
        <p:txBody>
          <a:bodyPr wrap="square" lIns="0" tIns="0" rIns="0" bIns="0" rtlCol="0"/>
          <a:lstStyle/>
          <a:p>
            <a:endParaRPr/>
          </a:p>
        </p:txBody>
      </p:sp>
      <p:sp>
        <p:nvSpPr>
          <p:cNvPr id="49" name="object 49"/>
          <p:cNvSpPr/>
          <p:nvPr/>
        </p:nvSpPr>
        <p:spPr>
          <a:xfrm>
            <a:off x="9317102" y="3411854"/>
            <a:ext cx="145415" cy="145415"/>
          </a:xfrm>
          <a:custGeom>
            <a:avLst/>
            <a:gdLst/>
            <a:ahLst/>
            <a:cxnLst/>
            <a:rect l="l" t="t" r="r" b="b"/>
            <a:pathLst>
              <a:path w="145415" h="145414">
                <a:moveTo>
                  <a:pt x="82042" y="0"/>
                </a:moveTo>
                <a:lnTo>
                  <a:pt x="42672" y="6223"/>
                </a:lnTo>
                <a:lnTo>
                  <a:pt x="10795" y="33400"/>
                </a:lnTo>
                <a:lnTo>
                  <a:pt x="0" y="60198"/>
                </a:lnTo>
                <a:lnTo>
                  <a:pt x="126" y="74295"/>
                </a:lnTo>
                <a:lnTo>
                  <a:pt x="14858" y="116205"/>
                </a:lnTo>
                <a:lnTo>
                  <a:pt x="53213" y="142367"/>
                </a:lnTo>
                <a:lnTo>
                  <a:pt x="75692" y="144907"/>
                </a:lnTo>
                <a:lnTo>
                  <a:pt x="89789" y="144653"/>
                </a:lnTo>
                <a:lnTo>
                  <a:pt x="124587" y="123062"/>
                </a:lnTo>
                <a:lnTo>
                  <a:pt x="145160" y="87630"/>
                </a:lnTo>
                <a:lnTo>
                  <a:pt x="144906" y="73533"/>
                </a:lnTo>
                <a:lnTo>
                  <a:pt x="131572" y="27432"/>
                </a:lnTo>
                <a:lnTo>
                  <a:pt x="93218" y="1270"/>
                </a:lnTo>
                <a:lnTo>
                  <a:pt x="82042" y="0"/>
                </a:lnTo>
                <a:close/>
              </a:path>
            </a:pathLst>
          </a:custGeom>
          <a:solidFill>
            <a:srgbClr val="D9D9D9"/>
          </a:solidFill>
        </p:spPr>
        <p:txBody>
          <a:bodyPr wrap="square" lIns="0" tIns="0" rIns="0" bIns="0" rtlCol="0"/>
          <a:lstStyle/>
          <a:p>
            <a:endParaRPr/>
          </a:p>
        </p:txBody>
      </p:sp>
      <p:sp>
        <p:nvSpPr>
          <p:cNvPr id="50" name="object 50"/>
          <p:cNvSpPr/>
          <p:nvPr/>
        </p:nvSpPr>
        <p:spPr>
          <a:xfrm>
            <a:off x="9317102" y="3411854"/>
            <a:ext cx="145415" cy="145415"/>
          </a:xfrm>
          <a:custGeom>
            <a:avLst/>
            <a:gdLst/>
            <a:ahLst/>
            <a:cxnLst/>
            <a:rect l="l" t="t" r="r" b="b"/>
            <a:pathLst>
              <a:path w="145415" h="145414">
                <a:moveTo>
                  <a:pt x="82042" y="0"/>
                </a:moveTo>
                <a:lnTo>
                  <a:pt x="42672" y="6223"/>
                </a:lnTo>
                <a:lnTo>
                  <a:pt x="10795" y="33400"/>
                </a:lnTo>
                <a:lnTo>
                  <a:pt x="0" y="60198"/>
                </a:lnTo>
                <a:lnTo>
                  <a:pt x="126" y="74295"/>
                </a:lnTo>
                <a:lnTo>
                  <a:pt x="14858" y="116205"/>
                </a:lnTo>
                <a:lnTo>
                  <a:pt x="53213" y="142367"/>
                </a:lnTo>
                <a:lnTo>
                  <a:pt x="75692" y="144907"/>
                </a:lnTo>
                <a:lnTo>
                  <a:pt x="89789" y="144653"/>
                </a:lnTo>
                <a:lnTo>
                  <a:pt x="124587" y="123062"/>
                </a:lnTo>
                <a:lnTo>
                  <a:pt x="145160" y="87630"/>
                </a:lnTo>
                <a:lnTo>
                  <a:pt x="144906" y="73533"/>
                </a:lnTo>
                <a:lnTo>
                  <a:pt x="131572" y="27432"/>
                </a:lnTo>
                <a:lnTo>
                  <a:pt x="93218" y="1270"/>
                </a:lnTo>
                <a:lnTo>
                  <a:pt x="82042" y="0"/>
                </a:lnTo>
                <a:close/>
              </a:path>
            </a:pathLst>
          </a:custGeom>
          <a:solidFill>
            <a:srgbClr val="D9D9D9"/>
          </a:solidFill>
        </p:spPr>
        <p:txBody>
          <a:bodyPr wrap="square" lIns="0" tIns="0" rIns="0" bIns="0" rtlCol="0"/>
          <a:lstStyle/>
          <a:p>
            <a:endParaRPr/>
          </a:p>
        </p:txBody>
      </p:sp>
      <p:sp>
        <p:nvSpPr>
          <p:cNvPr id="51" name="object 51"/>
          <p:cNvSpPr/>
          <p:nvPr/>
        </p:nvSpPr>
        <p:spPr>
          <a:xfrm>
            <a:off x="9285096" y="3720339"/>
            <a:ext cx="130810" cy="132715"/>
          </a:xfrm>
          <a:custGeom>
            <a:avLst/>
            <a:gdLst/>
            <a:ahLst/>
            <a:cxnLst/>
            <a:rect l="l" t="t" r="r" b="b"/>
            <a:pathLst>
              <a:path w="130809" h="132714">
                <a:moveTo>
                  <a:pt x="51053" y="254"/>
                </a:moveTo>
                <a:lnTo>
                  <a:pt x="16255" y="21843"/>
                </a:lnTo>
                <a:lnTo>
                  <a:pt x="0" y="65786"/>
                </a:lnTo>
                <a:lnTo>
                  <a:pt x="253" y="79756"/>
                </a:lnTo>
                <a:lnTo>
                  <a:pt x="4699" y="95123"/>
                </a:lnTo>
                <a:lnTo>
                  <a:pt x="17652" y="113284"/>
                </a:lnTo>
                <a:lnTo>
                  <a:pt x="37464" y="124206"/>
                </a:lnTo>
                <a:lnTo>
                  <a:pt x="55879" y="132334"/>
                </a:lnTo>
                <a:lnTo>
                  <a:pt x="68452" y="129412"/>
                </a:lnTo>
                <a:lnTo>
                  <a:pt x="81991" y="129412"/>
                </a:lnTo>
                <a:lnTo>
                  <a:pt x="90931" y="124841"/>
                </a:lnTo>
                <a:lnTo>
                  <a:pt x="102107" y="118999"/>
                </a:lnTo>
                <a:lnTo>
                  <a:pt x="121538" y="101854"/>
                </a:lnTo>
                <a:lnTo>
                  <a:pt x="125475" y="89154"/>
                </a:lnTo>
                <a:lnTo>
                  <a:pt x="129539" y="76454"/>
                </a:lnTo>
                <a:lnTo>
                  <a:pt x="121920" y="34417"/>
                </a:lnTo>
                <a:lnTo>
                  <a:pt x="93345" y="6731"/>
                </a:lnTo>
                <a:lnTo>
                  <a:pt x="76938" y="1524"/>
                </a:lnTo>
                <a:lnTo>
                  <a:pt x="62356" y="1524"/>
                </a:lnTo>
                <a:lnTo>
                  <a:pt x="51053" y="254"/>
                </a:lnTo>
                <a:close/>
              </a:path>
              <a:path w="130809" h="132714">
                <a:moveTo>
                  <a:pt x="81991" y="129412"/>
                </a:moveTo>
                <a:lnTo>
                  <a:pt x="68452" y="129412"/>
                </a:lnTo>
                <a:lnTo>
                  <a:pt x="79755" y="130556"/>
                </a:lnTo>
                <a:lnTo>
                  <a:pt x="81991" y="129412"/>
                </a:lnTo>
                <a:close/>
              </a:path>
              <a:path w="130809" h="132714">
                <a:moveTo>
                  <a:pt x="72135" y="0"/>
                </a:moveTo>
                <a:lnTo>
                  <a:pt x="62356" y="1524"/>
                </a:lnTo>
                <a:lnTo>
                  <a:pt x="76938" y="1524"/>
                </a:lnTo>
                <a:lnTo>
                  <a:pt x="72135" y="0"/>
                </a:lnTo>
                <a:close/>
              </a:path>
            </a:pathLst>
          </a:custGeom>
          <a:solidFill>
            <a:srgbClr val="D9D9D9"/>
          </a:solidFill>
        </p:spPr>
        <p:txBody>
          <a:bodyPr wrap="square" lIns="0" tIns="0" rIns="0" bIns="0" rtlCol="0"/>
          <a:lstStyle/>
          <a:p>
            <a:endParaRPr/>
          </a:p>
        </p:txBody>
      </p:sp>
      <p:sp>
        <p:nvSpPr>
          <p:cNvPr id="52" name="object 52"/>
          <p:cNvSpPr/>
          <p:nvPr/>
        </p:nvSpPr>
        <p:spPr>
          <a:xfrm>
            <a:off x="9285096" y="3720339"/>
            <a:ext cx="130810" cy="132715"/>
          </a:xfrm>
          <a:custGeom>
            <a:avLst/>
            <a:gdLst/>
            <a:ahLst/>
            <a:cxnLst/>
            <a:rect l="l" t="t" r="r" b="b"/>
            <a:pathLst>
              <a:path w="130809" h="132714">
                <a:moveTo>
                  <a:pt x="51053" y="254"/>
                </a:moveTo>
                <a:lnTo>
                  <a:pt x="16255" y="21843"/>
                </a:lnTo>
                <a:lnTo>
                  <a:pt x="0" y="65786"/>
                </a:lnTo>
                <a:lnTo>
                  <a:pt x="253" y="79756"/>
                </a:lnTo>
                <a:lnTo>
                  <a:pt x="4699" y="95123"/>
                </a:lnTo>
                <a:lnTo>
                  <a:pt x="17652" y="113284"/>
                </a:lnTo>
                <a:lnTo>
                  <a:pt x="37464" y="124206"/>
                </a:lnTo>
                <a:lnTo>
                  <a:pt x="55879" y="132334"/>
                </a:lnTo>
                <a:lnTo>
                  <a:pt x="68452" y="129412"/>
                </a:lnTo>
                <a:lnTo>
                  <a:pt x="81991" y="129412"/>
                </a:lnTo>
                <a:lnTo>
                  <a:pt x="90931" y="124841"/>
                </a:lnTo>
                <a:lnTo>
                  <a:pt x="102107" y="118999"/>
                </a:lnTo>
                <a:lnTo>
                  <a:pt x="121538" y="101854"/>
                </a:lnTo>
                <a:lnTo>
                  <a:pt x="125475" y="89154"/>
                </a:lnTo>
                <a:lnTo>
                  <a:pt x="129539" y="76454"/>
                </a:lnTo>
                <a:lnTo>
                  <a:pt x="121920" y="34417"/>
                </a:lnTo>
                <a:lnTo>
                  <a:pt x="93345" y="6731"/>
                </a:lnTo>
                <a:lnTo>
                  <a:pt x="76938" y="1524"/>
                </a:lnTo>
                <a:lnTo>
                  <a:pt x="62356" y="1524"/>
                </a:lnTo>
                <a:lnTo>
                  <a:pt x="51053" y="254"/>
                </a:lnTo>
                <a:close/>
              </a:path>
              <a:path w="130809" h="132714">
                <a:moveTo>
                  <a:pt x="81991" y="129412"/>
                </a:moveTo>
                <a:lnTo>
                  <a:pt x="68452" y="129412"/>
                </a:lnTo>
                <a:lnTo>
                  <a:pt x="79755" y="130556"/>
                </a:lnTo>
                <a:lnTo>
                  <a:pt x="81991" y="129412"/>
                </a:lnTo>
                <a:close/>
              </a:path>
              <a:path w="130809" h="132714">
                <a:moveTo>
                  <a:pt x="72135" y="0"/>
                </a:moveTo>
                <a:lnTo>
                  <a:pt x="62356" y="1524"/>
                </a:lnTo>
                <a:lnTo>
                  <a:pt x="76938" y="1524"/>
                </a:lnTo>
                <a:lnTo>
                  <a:pt x="72135" y="0"/>
                </a:lnTo>
                <a:close/>
              </a:path>
            </a:pathLst>
          </a:custGeom>
          <a:solidFill>
            <a:srgbClr val="D9D9D9"/>
          </a:solidFill>
        </p:spPr>
        <p:txBody>
          <a:bodyPr wrap="square" lIns="0" tIns="0" rIns="0" bIns="0" rtlCol="0"/>
          <a:lstStyle/>
          <a:p>
            <a:endParaRPr/>
          </a:p>
        </p:txBody>
      </p:sp>
      <p:sp>
        <p:nvSpPr>
          <p:cNvPr id="53" name="object 53"/>
          <p:cNvSpPr/>
          <p:nvPr/>
        </p:nvSpPr>
        <p:spPr>
          <a:xfrm>
            <a:off x="9198103" y="4016883"/>
            <a:ext cx="119380" cy="117475"/>
          </a:xfrm>
          <a:custGeom>
            <a:avLst/>
            <a:gdLst/>
            <a:ahLst/>
            <a:cxnLst/>
            <a:rect l="l" t="t" r="r" b="b"/>
            <a:pathLst>
              <a:path w="119379" h="117475">
                <a:moveTo>
                  <a:pt x="65150" y="0"/>
                </a:moveTo>
                <a:lnTo>
                  <a:pt x="24511" y="10541"/>
                </a:lnTo>
                <a:lnTo>
                  <a:pt x="1270" y="47371"/>
                </a:lnTo>
                <a:lnTo>
                  <a:pt x="0" y="58674"/>
                </a:lnTo>
                <a:lnTo>
                  <a:pt x="2921" y="71247"/>
                </a:lnTo>
                <a:lnTo>
                  <a:pt x="7366" y="86614"/>
                </a:lnTo>
                <a:lnTo>
                  <a:pt x="18923" y="101981"/>
                </a:lnTo>
                <a:lnTo>
                  <a:pt x="34544" y="111506"/>
                </a:lnTo>
                <a:lnTo>
                  <a:pt x="51434" y="116967"/>
                </a:lnTo>
                <a:lnTo>
                  <a:pt x="72517" y="116586"/>
                </a:lnTo>
                <a:lnTo>
                  <a:pt x="85090" y="113665"/>
                </a:lnTo>
                <a:lnTo>
                  <a:pt x="92075" y="106426"/>
                </a:lnTo>
                <a:lnTo>
                  <a:pt x="103250" y="100711"/>
                </a:lnTo>
                <a:lnTo>
                  <a:pt x="114173" y="80899"/>
                </a:lnTo>
                <a:lnTo>
                  <a:pt x="118237" y="68199"/>
                </a:lnTo>
                <a:lnTo>
                  <a:pt x="119379" y="56896"/>
                </a:lnTo>
                <a:lnTo>
                  <a:pt x="117855" y="47117"/>
                </a:lnTo>
                <a:lnTo>
                  <a:pt x="113411" y="31623"/>
                </a:lnTo>
                <a:lnTo>
                  <a:pt x="101980" y="16383"/>
                </a:lnTo>
                <a:lnTo>
                  <a:pt x="84963" y="3937"/>
                </a:lnTo>
                <a:lnTo>
                  <a:pt x="65150" y="0"/>
                </a:lnTo>
                <a:close/>
              </a:path>
            </a:pathLst>
          </a:custGeom>
          <a:solidFill>
            <a:srgbClr val="D9D9D9"/>
          </a:solidFill>
        </p:spPr>
        <p:txBody>
          <a:bodyPr wrap="square" lIns="0" tIns="0" rIns="0" bIns="0" rtlCol="0"/>
          <a:lstStyle/>
          <a:p>
            <a:endParaRPr/>
          </a:p>
        </p:txBody>
      </p:sp>
      <p:sp>
        <p:nvSpPr>
          <p:cNvPr id="54" name="object 54"/>
          <p:cNvSpPr/>
          <p:nvPr/>
        </p:nvSpPr>
        <p:spPr>
          <a:xfrm>
            <a:off x="9198103" y="4016883"/>
            <a:ext cx="119380" cy="117475"/>
          </a:xfrm>
          <a:custGeom>
            <a:avLst/>
            <a:gdLst/>
            <a:ahLst/>
            <a:cxnLst/>
            <a:rect l="l" t="t" r="r" b="b"/>
            <a:pathLst>
              <a:path w="119379" h="117475">
                <a:moveTo>
                  <a:pt x="65150" y="0"/>
                </a:moveTo>
                <a:lnTo>
                  <a:pt x="24511" y="10541"/>
                </a:lnTo>
                <a:lnTo>
                  <a:pt x="1270" y="47371"/>
                </a:lnTo>
                <a:lnTo>
                  <a:pt x="0" y="58674"/>
                </a:lnTo>
                <a:lnTo>
                  <a:pt x="2921" y="71247"/>
                </a:lnTo>
                <a:lnTo>
                  <a:pt x="7366" y="86614"/>
                </a:lnTo>
                <a:lnTo>
                  <a:pt x="18923" y="101981"/>
                </a:lnTo>
                <a:lnTo>
                  <a:pt x="34544" y="111506"/>
                </a:lnTo>
                <a:lnTo>
                  <a:pt x="51434" y="116967"/>
                </a:lnTo>
                <a:lnTo>
                  <a:pt x="72517" y="116586"/>
                </a:lnTo>
                <a:lnTo>
                  <a:pt x="85090" y="113665"/>
                </a:lnTo>
                <a:lnTo>
                  <a:pt x="92075" y="106426"/>
                </a:lnTo>
                <a:lnTo>
                  <a:pt x="103250" y="100711"/>
                </a:lnTo>
                <a:lnTo>
                  <a:pt x="114173" y="80899"/>
                </a:lnTo>
                <a:lnTo>
                  <a:pt x="118237" y="68199"/>
                </a:lnTo>
                <a:lnTo>
                  <a:pt x="119379" y="56896"/>
                </a:lnTo>
                <a:lnTo>
                  <a:pt x="117855" y="47117"/>
                </a:lnTo>
                <a:lnTo>
                  <a:pt x="113411" y="31623"/>
                </a:lnTo>
                <a:lnTo>
                  <a:pt x="101980" y="16383"/>
                </a:lnTo>
                <a:lnTo>
                  <a:pt x="84963" y="3937"/>
                </a:lnTo>
                <a:lnTo>
                  <a:pt x="65150" y="0"/>
                </a:lnTo>
                <a:close/>
              </a:path>
            </a:pathLst>
          </a:custGeom>
          <a:solidFill>
            <a:srgbClr val="D9D9D9"/>
          </a:solidFill>
        </p:spPr>
        <p:txBody>
          <a:bodyPr wrap="square" lIns="0" tIns="0" rIns="0" bIns="0" rtlCol="0"/>
          <a:lstStyle/>
          <a:p>
            <a:endParaRPr/>
          </a:p>
        </p:txBody>
      </p:sp>
      <p:sp>
        <p:nvSpPr>
          <p:cNvPr id="55" name="object 55"/>
          <p:cNvSpPr/>
          <p:nvPr/>
        </p:nvSpPr>
        <p:spPr>
          <a:xfrm>
            <a:off x="9064243" y="4291711"/>
            <a:ext cx="107314" cy="107314"/>
          </a:xfrm>
          <a:custGeom>
            <a:avLst/>
            <a:gdLst/>
            <a:ahLst/>
            <a:cxnLst/>
            <a:rect l="l" t="t" r="r" b="b"/>
            <a:pathLst>
              <a:path w="107315" h="107314">
                <a:moveTo>
                  <a:pt x="58292" y="0"/>
                </a:moveTo>
                <a:lnTo>
                  <a:pt x="41528" y="1650"/>
                </a:lnTo>
                <a:lnTo>
                  <a:pt x="31623" y="3175"/>
                </a:lnTo>
                <a:lnTo>
                  <a:pt x="21971" y="11811"/>
                </a:lnTo>
                <a:lnTo>
                  <a:pt x="13588" y="16128"/>
                </a:lnTo>
                <a:lnTo>
                  <a:pt x="8127" y="26034"/>
                </a:lnTo>
                <a:lnTo>
                  <a:pt x="5460" y="34543"/>
                </a:lnTo>
                <a:lnTo>
                  <a:pt x="0" y="44450"/>
                </a:lnTo>
                <a:lnTo>
                  <a:pt x="1524" y="54228"/>
                </a:lnTo>
                <a:lnTo>
                  <a:pt x="253" y="65531"/>
                </a:lnTo>
                <a:lnTo>
                  <a:pt x="6096" y="76707"/>
                </a:lnTo>
                <a:lnTo>
                  <a:pt x="17525" y="91947"/>
                </a:lnTo>
                <a:lnTo>
                  <a:pt x="28828" y="100202"/>
                </a:lnTo>
                <a:lnTo>
                  <a:pt x="45847" y="105663"/>
                </a:lnTo>
                <a:lnTo>
                  <a:pt x="64134" y="106806"/>
                </a:lnTo>
                <a:lnTo>
                  <a:pt x="83692" y="96646"/>
                </a:lnTo>
                <a:lnTo>
                  <a:pt x="90550" y="89534"/>
                </a:lnTo>
                <a:lnTo>
                  <a:pt x="97535" y="82422"/>
                </a:lnTo>
                <a:lnTo>
                  <a:pt x="102997" y="72516"/>
                </a:lnTo>
                <a:lnTo>
                  <a:pt x="105663" y="64007"/>
                </a:lnTo>
                <a:lnTo>
                  <a:pt x="106933" y="52705"/>
                </a:lnTo>
                <a:lnTo>
                  <a:pt x="105409" y="42925"/>
                </a:lnTo>
                <a:lnTo>
                  <a:pt x="100837" y="27558"/>
                </a:lnTo>
                <a:lnTo>
                  <a:pt x="90931" y="14986"/>
                </a:lnTo>
                <a:lnTo>
                  <a:pt x="75310" y="5333"/>
                </a:lnTo>
                <a:lnTo>
                  <a:pt x="58292" y="0"/>
                </a:lnTo>
                <a:close/>
              </a:path>
            </a:pathLst>
          </a:custGeom>
          <a:solidFill>
            <a:srgbClr val="D9D9D9"/>
          </a:solidFill>
        </p:spPr>
        <p:txBody>
          <a:bodyPr wrap="square" lIns="0" tIns="0" rIns="0" bIns="0" rtlCol="0"/>
          <a:lstStyle/>
          <a:p>
            <a:endParaRPr/>
          </a:p>
        </p:txBody>
      </p:sp>
      <p:sp>
        <p:nvSpPr>
          <p:cNvPr id="56" name="object 56"/>
          <p:cNvSpPr/>
          <p:nvPr/>
        </p:nvSpPr>
        <p:spPr>
          <a:xfrm>
            <a:off x="9064243" y="4291711"/>
            <a:ext cx="107314" cy="107314"/>
          </a:xfrm>
          <a:custGeom>
            <a:avLst/>
            <a:gdLst/>
            <a:ahLst/>
            <a:cxnLst/>
            <a:rect l="l" t="t" r="r" b="b"/>
            <a:pathLst>
              <a:path w="107315" h="107314">
                <a:moveTo>
                  <a:pt x="58292" y="0"/>
                </a:moveTo>
                <a:lnTo>
                  <a:pt x="41528" y="1650"/>
                </a:lnTo>
                <a:lnTo>
                  <a:pt x="31623" y="3175"/>
                </a:lnTo>
                <a:lnTo>
                  <a:pt x="21971" y="11811"/>
                </a:lnTo>
                <a:lnTo>
                  <a:pt x="13588" y="16128"/>
                </a:lnTo>
                <a:lnTo>
                  <a:pt x="8127" y="26034"/>
                </a:lnTo>
                <a:lnTo>
                  <a:pt x="5460" y="34543"/>
                </a:lnTo>
                <a:lnTo>
                  <a:pt x="0" y="44450"/>
                </a:lnTo>
                <a:lnTo>
                  <a:pt x="1524" y="54228"/>
                </a:lnTo>
                <a:lnTo>
                  <a:pt x="253" y="65531"/>
                </a:lnTo>
                <a:lnTo>
                  <a:pt x="6096" y="76707"/>
                </a:lnTo>
                <a:lnTo>
                  <a:pt x="17525" y="91947"/>
                </a:lnTo>
                <a:lnTo>
                  <a:pt x="28828" y="100202"/>
                </a:lnTo>
                <a:lnTo>
                  <a:pt x="45847" y="105663"/>
                </a:lnTo>
                <a:lnTo>
                  <a:pt x="64134" y="106806"/>
                </a:lnTo>
                <a:lnTo>
                  <a:pt x="83692" y="96646"/>
                </a:lnTo>
                <a:lnTo>
                  <a:pt x="90550" y="89534"/>
                </a:lnTo>
                <a:lnTo>
                  <a:pt x="97535" y="82422"/>
                </a:lnTo>
                <a:lnTo>
                  <a:pt x="102997" y="72516"/>
                </a:lnTo>
                <a:lnTo>
                  <a:pt x="105663" y="64007"/>
                </a:lnTo>
                <a:lnTo>
                  <a:pt x="106933" y="52705"/>
                </a:lnTo>
                <a:lnTo>
                  <a:pt x="105409" y="42925"/>
                </a:lnTo>
                <a:lnTo>
                  <a:pt x="100837" y="27558"/>
                </a:lnTo>
                <a:lnTo>
                  <a:pt x="90931" y="14986"/>
                </a:lnTo>
                <a:lnTo>
                  <a:pt x="75310" y="5333"/>
                </a:lnTo>
                <a:lnTo>
                  <a:pt x="58292" y="0"/>
                </a:lnTo>
                <a:close/>
              </a:path>
            </a:pathLst>
          </a:custGeom>
          <a:solidFill>
            <a:srgbClr val="D9D9D9"/>
          </a:solidFill>
        </p:spPr>
        <p:txBody>
          <a:bodyPr wrap="square" lIns="0" tIns="0" rIns="0" bIns="0" rtlCol="0"/>
          <a:lstStyle/>
          <a:p>
            <a:endParaRPr/>
          </a:p>
        </p:txBody>
      </p:sp>
      <p:sp>
        <p:nvSpPr>
          <p:cNvPr id="57" name="object 57"/>
          <p:cNvSpPr/>
          <p:nvPr/>
        </p:nvSpPr>
        <p:spPr>
          <a:xfrm>
            <a:off x="8882382" y="4537965"/>
            <a:ext cx="98424" cy="95885"/>
          </a:xfrm>
          <a:custGeom>
            <a:avLst/>
            <a:gdLst/>
            <a:ahLst/>
            <a:cxnLst/>
            <a:rect l="l" t="t" r="r" b="b"/>
            <a:pathLst>
              <a:path w="98425" h="95885">
                <a:moveTo>
                  <a:pt x="38608" y="0"/>
                </a:moveTo>
                <a:lnTo>
                  <a:pt x="21844" y="8636"/>
                </a:lnTo>
                <a:lnTo>
                  <a:pt x="8000" y="22860"/>
                </a:lnTo>
                <a:lnTo>
                  <a:pt x="2667" y="39878"/>
                </a:lnTo>
                <a:lnTo>
                  <a:pt x="0" y="48260"/>
                </a:lnTo>
                <a:lnTo>
                  <a:pt x="28701" y="90043"/>
                </a:lnTo>
                <a:lnTo>
                  <a:pt x="45593" y="95377"/>
                </a:lnTo>
                <a:lnTo>
                  <a:pt x="59690" y="95250"/>
                </a:lnTo>
                <a:lnTo>
                  <a:pt x="90297" y="72262"/>
                </a:lnTo>
                <a:lnTo>
                  <a:pt x="98298" y="46862"/>
                </a:lnTo>
                <a:lnTo>
                  <a:pt x="96774" y="37084"/>
                </a:lnTo>
                <a:lnTo>
                  <a:pt x="91059" y="25908"/>
                </a:lnTo>
                <a:lnTo>
                  <a:pt x="83820" y="11937"/>
                </a:lnTo>
                <a:lnTo>
                  <a:pt x="69596" y="5080"/>
                </a:lnTo>
                <a:lnTo>
                  <a:pt x="56896" y="1143"/>
                </a:lnTo>
                <a:lnTo>
                  <a:pt x="38608" y="0"/>
                </a:lnTo>
                <a:close/>
              </a:path>
            </a:pathLst>
          </a:custGeom>
          <a:solidFill>
            <a:srgbClr val="D9D9D9"/>
          </a:solidFill>
        </p:spPr>
        <p:txBody>
          <a:bodyPr wrap="square" lIns="0" tIns="0" rIns="0" bIns="0" rtlCol="0"/>
          <a:lstStyle/>
          <a:p>
            <a:endParaRPr/>
          </a:p>
        </p:txBody>
      </p:sp>
      <p:sp>
        <p:nvSpPr>
          <p:cNvPr id="58" name="object 58"/>
          <p:cNvSpPr/>
          <p:nvPr/>
        </p:nvSpPr>
        <p:spPr>
          <a:xfrm>
            <a:off x="8882382" y="4537965"/>
            <a:ext cx="98424" cy="95885"/>
          </a:xfrm>
          <a:custGeom>
            <a:avLst/>
            <a:gdLst/>
            <a:ahLst/>
            <a:cxnLst/>
            <a:rect l="l" t="t" r="r" b="b"/>
            <a:pathLst>
              <a:path w="98425" h="95885">
                <a:moveTo>
                  <a:pt x="38608" y="0"/>
                </a:moveTo>
                <a:lnTo>
                  <a:pt x="21844" y="8636"/>
                </a:lnTo>
                <a:lnTo>
                  <a:pt x="8000" y="22860"/>
                </a:lnTo>
                <a:lnTo>
                  <a:pt x="2667" y="39878"/>
                </a:lnTo>
                <a:lnTo>
                  <a:pt x="0" y="48260"/>
                </a:lnTo>
                <a:lnTo>
                  <a:pt x="28701" y="90043"/>
                </a:lnTo>
                <a:lnTo>
                  <a:pt x="45593" y="95377"/>
                </a:lnTo>
                <a:lnTo>
                  <a:pt x="59690" y="95250"/>
                </a:lnTo>
                <a:lnTo>
                  <a:pt x="90297" y="72262"/>
                </a:lnTo>
                <a:lnTo>
                  <a:pt x="98298" y="46862"/>
                </a:lnTo>
                <a:lnTo>
                  <a:pt x="96774" y="37084"/>
                </a:lnTo>
                <a:lnTo>
                  <a:pt x="91059" y="25908"/>
                </a:lnTo>
                <a:lnTo>
                  <a:pt x="83820" y="11937"/>
                </a:lnTo>
                <a:lnTo>
                  <a:pt x="69596" y="5080"/>
                </a:lnTo>
                <a:lnTo>
                  <a:pt x="56896" y="1143"/>
                </a:lnTo>
                <a:lnTo>
                  <a:pt x="38608" y="0"/>
                </a:lnTo>
                <a:close/>
              </a:path>
            </a:pathLst>
          </a:custGeom>
          <a:solidFill>
            <a:srgbClr val="D9D9D9"/>
          </a:solidFill>
        </p:spPr>
        <p:txBody>
          <a:bodyPr wrap="square" lIns="0" tIns="0" rIns="0" bIns="0" rtlCol="0"/>
          <a:lstStyle/>
          <a:p>
            <a:endParaRPr/>
          </a:p>
        </p:txBody>
      </p:sp>
      <p:sp>
        <p:nvSpPr>
          <p:cNvPr id="59" name="object 59"/>
          <p:cNvSpPr/>
          <p:nvPr/>
        </p:nvSpPr>
        <p:spPr>
          <a:xfrm>
            <a:off x="8664830" y="4749038"/>
            <a:ext cx="87630" cy="83185"/>
          </a:xfrm>
          <a:custGeom>
            <a:avLst/>
            <a:gdLst/>
            <a:ahLst/>
            <a:cxnLst/>
            <a:rect l="l" t="t" r="r" b="b"/>
            <a:pathLst>
              <a:path w="87629" h="83185">
                <a:moveTo>
                  <a:pt x="46990" y="0"/>
                </a:moveTo>
                <a:lnTo>
                  <a:pt x="6476" y="17525"/>
                </a:lnTo>
                <a:lnTo>
                  <a:pt x="0" y="52705"/>
                </a:lnTo>
                <a:lnTo>
                  <a:pt x="4318" y="61087"/>
                </a:lnTo>
                <a:lnTo>
                  <a:pt x="14350" y="73660"/>
                </a:lnTo>
                <a:lnTo>
                  <a:pt x="24256" y="79120"/>
                </a:lnTo>
                <a:lnTo>
                  <a:pt x="36956" y="83057"/>
                </a:lnTo>
                <a:lnTo>
                  <a:pt x="51053" y="82931"/>
                </a:lnTo>
                <a:lnTo>
                  <a:pt x="69215" y="76962"/>
                </a:lnTo>
                <a:lnTo>
                  <a:pt x="80264" y="64135"/>
                </a:lnTo>
                <a:lnTo>
                  <a:pt x="87122" y="50037"/>
                </a:lnTo>
                <a:lnTo>
                  <a:pt x="85471" y="33147"/>
                </a:lnTo>
                <a:lnTo>
                  <a:pt x="79628" y="22098"/>
                </a:lnTo>
                <a:lnTo>
                  <a:pt x="73914" y="10922"/>
                </a:lnTo>
                <a:lnTo>
                  <a:pt x="62484" y="2667"/>
                </a:lnTo>
                <a:lnTo>
                  <a:pt x="46990" y="0"/>
                </a:lnTo>
                <a:close/>
              </a:path>
            </a:pathLst>
          </a:custGeom>
          <a:solidFill>
            <a:srgbClr val="D9D9D9"/>
          </a:solidFill>
        </p:spPr>
        <p:txBody>
          <a:bodyPr wrap="square" lIns="0" tIns="0" rIns="0" bIns="0" rtlCol="0"/>
          <a:lstStyle/>
          <a:p>
            <a:endParaRPr/>
          </a:p>
        </p:txBody>
      </p:sp>
      <p:sp>
        <p:nvSpPr>
          <p:cNvPr id="60" name="object 60"/>
          <p:cNvSpPr/>
          <p:nvPr/>
        </p:nvSpPr>
        <p:spPr>
          <a:xfrm>
            <a:off x="8664830" y="4749038"/>
            <a:ext cx="87630" cy="83185"/>
          </a:xfrm>
          <a:custGeom>
            <a:avLst/>
            <a:gdLst/>
            <a:ahLst/>
            <a:cxnLst/>
            <a:rect l="l" t="t" r="r" b="b"/>
            <a:pathLst>
              <a:path w="87629" h="83185">
                <a:moveTo>
                  <a:pt x="46990" y="0"/>
                </a:moveTo>
                <a:lnTo>
                  <a:pt x="6476" y="17525"/>
                </a:lnTo>
                <a:lnTo>
                  <a:pt x="0" y="52705"/>
                </a:lnTo>
                <a:lnTo>
                  <a:pt x="4318" y="61087"/>
                </a:lnTo>
                <a:lnTo>
                  <a:pt x="14350" y="73660"/>
                </a:lnTo>
                <a:lnTo>
                  <a:pt x="24256" y="79120"/>
                </a:lnTo>
                <a:lnTo>
                  <a:pt x="36956" y="83057"/>
                </a:lnTo>
                <a:lnTo>
                  <a:pt x="51053" y="82931"/>
                </a:lnTo>
                <a:lnTo>
                  <a:pt x="69215" y="76962"/>
                </a:lnTo>
                <a:lnTo>
                  <a:pt x="80264" y="64135"/>
                </a:lnTo>
                <a:lnTo>
                  <a:pt x="87122" y="50037"/>
                </a:lnTo>
                <a:lnTo>
                  <a:pt x="85471" y="33147"/>
                </a:lnTo>
                <a:lnTo>
                  <a:pt x="79628" y="22098"/>
                </a:lnTo>
                <a:lnTo>
                  <a:pt x="73914" y="10922"/>
                </a:lnTo>
                <a:lnTo>
                  <a:pt x="62484" y="2667"/>
                </a:lnTo>
                <a:lnTo>
                  <a:pt x="46990" y="0"/>
                </a:lnTo>
                <a:close/>
              </a:path>
            </a:pathLst>
          </a:custGeom>
          <a:solidFill>
            <a:srgbClr val="D9D9D9"/>
          </a:solidFill>
        </p:spPr>
        <p:txBody>
          <a:bodyPr wrap="square" lIns="0" tIns="0" rIns="0" bIns="0" rtlCol="0"/>
          <a:lstStyle/>
          <a:p>
            <a:endParaRPr/>
          </a:p>
        </p:txBody>
      </p:sp>
      <p:sp>
        <p:nvSpPr>
          <p:cNvPr id="61" name="object 61"/>
          <p:cNvSpPr/>
          <p:nvPr/>
        </p:nvSpPr>
        <p:spPr>
          <a:xfrm>
            <a:off x="8411337" y="4914520"/>
            <a:ext cx="77470" cy="79375"/>
          </a:xfrm>
          <a:custGeom>
            <a:avLst/>
            <a:gdLst/>
            <a:ahLst/>
            <a:cxnLst/>
            <a:rect l="l" t="t" r="r" b="b"/>
            <a:pathLst>
              <a:path w="77470" h="79375">
                <a:moveTo>
                  <a:pt x="42926" y="0"/>
                </a:moveTo>
                <a:lnTo>
                  <a:pt x="6604" y="18795"/>
                </a:lnTo>
                <a:lnTo>
                  <a:pt x="0" y="47116"/>
                </a:lnTo>
                <a:lnTo>
                  <a:pt x="5842" y="58165"/>
                </a:lnTo>
                <a:lnTo>
                  <a:pt x="14351" y="67944"/>
                </a:lnTo>
                <a:lnTo>
                  <a:pt x="34290" y="78866"/>
                </a:lnTo>
                <a:lnTo>
                  <a:pt x="46863" y="75818"/>
                </a:lnTo>
                <a:lnTo>
                  <a:pt x="62230" y="71373"/>
                </a:lnTo>
                <a:lnTo>
                  <a:pt x="73279" y="58673"/>
                </a:lnTo>
                <a:lnTo>
                  <a:pt x="77343" y="45846"/>
                </a:lnTo>
                <a:lnTo>
                  <a:pt x="77089" y="31876"/>
                </a:lnTo>
                <a:lnTo>
                  <a:pt x="75565" y="22097"/>
                </a:lnTo>
                <a:lnTo>
                  <a:pt x="66929" y="12318"/>
                </a:lnTo>
                <a:lnTo>
                  <a:pt x="55626" y="4063"/>
                </a:lnTo>
                <a:lnTo>
                  <a:pt x="42926" y="0"/>
                </a:lnTo>
                <a:close/>
              </a:path>
            </a:pathLst>
          </a:custGeom>
          <a:solidFill>
            <a:srgbClr val="D9D9D9"/>
          </a:solidFill>
        </p:spPr>
        <p:txBody>
          <a:bodyPr wrap="square" lIns="0" tIns="0" rIns="0" bIns="0" rtlCol="0"/>
          <a:lstStyle/>
          <a:p>
            <a:endParaRPr/>
          </a:p>
        </p:txBody>
      </p:sp>
      <p:sp>
        <p:nvSpPr>
          <p:cNvPr id="62" name="object 62"/>
          <p:cNvSpPr/>
          <p:nvPr/>
        </p:nvSpPr>
        <p:spPr>
          <a:xfrm>
            <a:off x="8411337" y="4914520"/>
            <a:ext cx="77470" cy="79375"/>
          </a:xfrm>
          <a:custGeom>
            <a:avLst/>
            <a:gdLst/>
            <a:ahLst/>
            <a:cxnLst/>
            <a:rect l="l" t="t" r="r" b="b"/>
            <a:pathLst>
              <a:path w="77470" h="79375">
                <a:moveTo>
                  <a:pt x="42926" y="0"/>
                </a:moveTo>
                <a:lnTo>
                  <a:pt x="6604" y="18795"/>
                </a:lnTo>
                <a:lnTo>
                  <a:pt x="0" y="47116"/>
                </a:lnTo>
                <a:lnTo>
                  <a:pt x="5842" y="58165"/>
                </a:lnTo>
                <a:lnTo>
                  <a:pt x="14351" y="67944"/>
                </a:lnTo>
                <a:lnTo>
                  <a:pt x="34290" y="78866"/>
                </a:lnTo>
                <a:lnTo>
                  <a:pt x="46863" y="75818"/>
                </a:lnTo>
                <a:lnTo>
                  <a:pt x="62230" y="71373"/>
                </a:lnTo>
                <a:lnTo>
                  <a:pt x="73279" y="58673"/>
                </a:lnTo>
                <a:lnTo>
                  <a:pt x="77343" y="45846"/>
                </a:lnTo>
                <a:lnTo>
                  <a:pt x="77089" y="31876"/>
                </a:lnTo>
                <a:lnTo>
                  <a:pt x="75565" y="22097"/>
                </a:lnTo>
                <a:lnTo>
                  <a:pt x="66929" y="12318"/>
                </a:lnTo>
                <a:lnTo>
                  <a:pt x="55626" y="4063"/>
                </a:lnTo>
                <a:lnTo>
                  <a:pt x="42926" y="0"/>
                </a:lnTo>
                <a:close/>
              </a:path>
            </a:pathLst>
          </a:custGeom>
          <a:solidFill>
            <a:srgbClr val="D9D9D9"/>
          </a:solidFill>
        </p:spPr>
        <p:txBody>
          <a:bodyPr wrap="square" lIns="0" tIns="0" rIns="0" bIns="0" rtlCol="0"/>
          <a:lstStyle/>
          <a:p>
            <a:endParaRPr/>
          </a:p>
        </p:txBody>
      </p:sp>
      <p:sp>
        <p:nvSpPr>
          <p:cNvPr id="63" name="object 63"/>
          <p:cNvSpPr/>
          <p:nvPr/>
        </p:nvSpPr>
        <p:spPr>
          <a:xfrm>
            <a:off x="8134479" y="5034154"/>
            <a:ext cx="70485" cy="70485"/>
          </a:xfrm>
          <a:custGeom>
            <a:avLst/>
            <a:gdLst/>
            <a:ahLst/>
            <a:cxnLst/>
            <a:rect l="l" t="t" r="r" b="b"/>
            <a:pathLst>
              <a:path w="70484" h="70485">
                <a:moveTo>
                  <a:pt x="27686" y="0"/>
                </a:moveTo>
                <a:lnTo>
                  <a:pt x="16637" y="5842"/>
                </a:lnTo>
                <a:lnTo>
                  <a:pt x="8254" y="17145"/>
                </a:lnTo>
                <a:lnTo>
                  <a:pt x="0" y="28575"/>
                </a:lnTo>
                <a:lnTo>
                  <a:pt x="253" y="42545"/>
                </a:lnTo>
                <a:lnTo>
                  <a:pt x="4572" y="50927"/>
                </a:lnTo>
                <a:lnTo>
                  <a:pt x="13207" y="60706"/>
                </a:lnTo>
                <a:lnTo>
                  <a:pt x="20320" y="67564"/>
                </a:lnTo>
                <a:lnTo>
                  <a:pt x="42799" y="70104"/>
                </a:lnTo>
                <a:lnTo>
                  <a:pt x="56769" y="62865"/>
                </a:lnTo>
                <a:lnTo>
                  <a:pt x="66548" y="54229"/>
                </a:lnTo>
                <a:lnTo>
                  <a:pt x="70484" y="41529"/>
                </a:lnTo>
                <a:lnTo>
                  <a:pt x="70357" y="27432"/>
                </a:lnTo>
                <a:lnTo>
                  <a:pt x="66040" y="19050"/>
                </a:lnTo>
                <a:lnTo>
                  <a:pt x="61595" y="10795"/>
                </a:lnTo>
                <a:lnTo>
                  <a:pt x="50292" y="2540"/>
                </a:lnTo>
                <a:lnTo>
                  <a:pt x="27686" y="0"/>
                </a:lnTo>
                <a:close/>
              </a:path>
            </a:pathLst>
          </a:custGeom>
          <a:solidFill>
            <a:srgbClr val="D9D9D9"/>
          </a:solidFill>
        </p:spPr>
        <p:txBody>
          <a:bodyPr wrap="square" lIns="0" tIns="0" rIns="0" bIns="0" rtlCol="0"/>
          <a:lstStyle/>
          <a:p>
            <a:endParaRPr/>
          </a:p>
        </p:txBody>
      </p:sp>
      <p:sp>
        <p:nvSpPr>
          <p:cNvPr id="64" name="object 64"/>
          <p:cNvSpPr/>
          <p:nvPr/>
        </p:nvSpPr>
        <p:spPr>
          <a:xfrm>
            <a:off x="8134479" y="5034154"/>
            <a:ext cx="70485" cy="70485"/>
          </a:xfrm>
          <a:custGeom>
            <a:avLst/>
            <a:gdLst/>
            <a:ahLst/>
            <a:cxnLst/>
            <a:rect l="l" t="t" r="r" b="b"/>
            <a:pathLst>
              <a:path w="70484" h="70485">
                <a:moveTo>
                  <a:pt x="27686" y="0"/>
                </a:moveTo>
                <a:lnTo>
                  <a:pt x="16637" y="5842"/>
                </a:lnTo>
                <a:lnTo>
                  <a:pt x="8254" y="17145"/>
                </a:lnTo>
                <a:lnTo>
                  <a:pt x="0" y="28575"/>
                </a:lnTo>
                <a:lnTo>
                  <a:pt x="253" y="42545"/>
                </a:lnTo>
                <a:lnTo>
                  <a:pt x="4572" y="50927"/>
                </a:lnTo>
                <a:lnTo>
                  <a:pt x="13207" y="60706"/>
                </a:lnTo>
                <a:lnTo>
                  <a:pt x="20320" y="67564"/>
                </a:lnTo>
                <a:lnTo>
                  <a:pt x="42799" y="70104"/>
                </a:lnTo>
                <a:lnTo>
                  <a:pt x="56769" y="62865"/>
                </a:lnTo>
                <a:lnTo>
                  <a:pt x="66548" y="54229"/>
                </a:lnTo>
                <a:lnTo>
                  <a:pt x="70484" y="41529"/>
                </a:lnTo>
                <a:lnTo>
                  <a:pt x="70357" y="27432"/>
                </a:lnTo>
                <a:lnTo>
                  <a:pt x="66040" y="19050"/>
                </a:lnTo>
                <a:lnTo>
                  <a:pt x="61595" y="10795"/>
                </a:lnTo>
                <a:lnTo>
                  <a:pt x="50292" y="2540"/>
                </a:lnTo>
                <a:lnTo>
                  <a:pt x="27686" y="0"/>
                </a:lnTo>
                <a:close/>
              </a:path>
            </a:pathLst>
          </a:custGeom>
          <a:solidFill>
            <a:srgbClr val="D9D9D9"/>
          </a:solidFill>
        </p:spPr>
        <p:txBody>
          <a:bodyPr wrap="square" lIns="0" tIns="0" rIns="0" bIns="0" rtlCol="0"/>
          <a:lstStyle/>
          <a:p>
            <a:endParaRPr/>
          </a:p>
        </p:txBody>
      </p:sp>
      <p:sp>
        <p:nvSpPr>
          <p:cNvPr id="65" name="object 65"/>
          <p:cNvSpPr/>
          <p:nvPr/>
        </p:nvSpPr>
        <p:spPr>
          <a:xfrm>
            <a:off x="7843140" y="5103240"/>
            <a:ext cx="62230" cy="63500"/>
          </a:xfrm>
          <a:custGeom>
            <a:avLst/>
            <a:gdLst/>
            <a:ahLst/>
            <a:cxnLst/>
            <a:rect l="l" t="t" r="r" b="b"/>
            <a:pathLst>
              <a:path w="62229" h="63500">
                <a:moveTo>
                  <a:pt x="22097" y="0"/>
                </a:moveTo>
                <a:lnTo>
                  <a:pt x="10921" y="5714"/>
                </a:lnTo>
                <a:lnTo>
                  <a:pt x="4063" y="12953"/>
                </a:lnTo>
                <a:lnTo>
                  <a:pt x="0" y="25653"/>
                </a:lnTo>
                <a:lnTo>
                  <a:pt x="126" y="39623"/>
                </a:lnTo>
                <a:lnTo>
                  <a:pt x="3047" y="45211"/>
                </a:lnTo>
                <a:lnTo>
                  <a:pt x="7365" y="53593"/>
                </a:lnTo>
                <a:lnTo>
                  <a:pt x="17399" y="59054"/>
                </a:lnTo>
                <a:lnTo>
                  <a:pt x="25780" y="61721"/>
                </a:lnTo>
                <a:lnTo>
                  <a:pt x="37083" y="62991"/>
                </a:lnTo>
                <a:lnTo>
                  <a:pt x="48259" y="57276"/>
                </a:lnTo>
                <a:lnTo>
                  <a:pt x="57911" y="48640"/>
                </a:lnTo>
                <a:lnTo>
                  <a:pt x="61975" y="35940"/>
                </a:lnTo>
                <a:lnTo>
                  <a:pt x="58927" y="16255"/>
                </a:lnTo>
                <a:lnTo>
                  <a:pt x="51688" y="9397"/>
                </a:lnTo>
                <a:lnTo>
                  <a:pt x="44576" y="2412"/>
                </a:lnTo>
                <a:lnTo>
                  <a:pt x="33400" y="1269"/>
                </a:lnTo>
                <a:lnTo>
                  <a:pt x="22097" y="0"/>
                </a:lnTo>
                <a:close/>
              </a:path>
            </a:pathLst>
          </a:custGeom>
          <a:solidFill>
            <a:srgbClr val="D9D9D9"/>
          </a:solidFill>
        </p:spPr>
        <p:txBody>
          <a:bodyPr wrap="square" lIns="0" tIns="0" rIns="0" bIns="0" rtlCol="0"/>
          <a:lstStyle/>
          <a:p>
            <a:endParaRPr/>
          </a:p>
        </p:txBody>
      </p:sp>
      <p:sp>
        <p:nvSpPr>
          <p:cNvPr id="66" name="object 66"/>
          <p:cNvSpPr/>
          <p:nvPr/>
        </p:nvSpPr>
        <p:spPr>
          <a:xfrm>
            <a:off x="7843140" y="5103240"/>
            <a:ext cx="62230" cy="63500"/>
          </a:xfrm>
          <a:custGeom>
            <a:avLst/>
            <a:gdLst/>
            <a:ahLst/>
            <a:cxnLst/>
            <a:rect l="l" t="t" r="r" b="b"/>
            <a:pathLst>
              <a:path w="62229" h="63500">
                <a:moveTo>
                  <a:pt x="22097" y="0"/>
                </a:moveTo>
                <a:lnTo>
                  <a:pt x="10921" y="5714"/>
                </a:lnTo>
                <a:lnTo>
                  <a:pt x="4063" y="12953"/>
                </a:lnTo>
                <a:lnTo>
                  <a:pt x="0" y="25653"/>
                </a:lnTo>
                <a:lnTo>
                  <a:pt x="126" y="39623"/>
                </a:lnTo>
                <a:lnTo>
                  <a:pt x="3047" y="45211"/>
                </a:lnTo>
                <a:lnTo>
                  <a:pt x="7365" y="53593"/>
                </a:lnTo>
                <a:lnTo>
                  <a:pt x="17399" y="59054"/>
                </a:lnTo>
                <a:lnTo>
                  <a:pt x="25780" y="61721"/>
                </a:lnTo>
                <a:lnTo>
                  <a:pt x="37083" y="62991"/>
                </a:lnTo>
                <a:lnTo>
                  <a:pt x="48259" y="57276"/>
                </a:lnTo>
                <a:lnTo>
                  <a:pt x="57911" y="48640"/>
                </a:lnTo>
                <a:lnTo>
                  <a:pt x="61975" y="35940"/>
                </a:lnTo>
                <a:lnTo>
                  <a:pt x="58927" y="16255"/>
                </a:lnTo>
                <a:lnTo>
                  <a:pt x="51688" y="9397"/>
                </a:lnTo>
                <a:lnTo>
                  <a:pt x="44576" y="2412"/>
                </a:lnTo>
                <a:lnTo>
                  <a:pt x="33400" y="1269"/>
                </a:lnTo>
                <a:lnTo>
                  <a:pt x="22097" y="0"/>
                </a:lnTo>
                <a:close/>
              </a:path>
            </a:pathLst>
          </a:custGeom>
          <a:solidFill>
            <a:srgbClr val="D9D9D9"/>
          </a:solidFill>
        </p:spPr>
        <p:txBody>
          <a:bodyPr wrap="square" lIns="0" tIns="0" rIns="0" bIns="0" rtlCol="0"/>
          <a:lstStyle/>
          <a:p>
            <a:endParaRPr/>
          </a:p>
        </p:txBody>
      </p:sp>
      <p:sp>
        <p:nvSpPr>
          <p:cNvPr id="67" name="object 67"/>
          <p:cNvSpPr/>
          <p:nvPr/>
        </p:nvSpPr>
        <p:spPr>
          <a:xfrm>
            <a:off x="9230742" y="2804287"/>
            <a:ext cx="163830" cy="161925"/>
          </a:xfrm>
          <a:custGeom>
            <a:avLst/>
            <a:gdLst/>
            <a:ahLst/>
            <a:cxnLst/>
            <a:rect l="l" t="t" r="r" b="b"/>
            <a:pathLst>
              <a:path w="163829" h="161925">
                <a:moveTo>
                  <a:pt x="90424" y="0"/>
                </a:moveTo>
                <a:lnTo>
                  <a:pt x="34416" y="14986"/>
                </a:lnTo>
                <a:lnTo>
                  <a:pt x="6857" y="50418"/>
                </a:lnTo>
                <a:lnTo>
                  <a:pt x="0" y="64642"/>
                </a:lnTo>
                <a:lnTo>
                  <a:pt x="3301" y="98298"/>
                </a:lnTo>
                <a:lnTo>
                  <a:pt x="9270" y="116459"/>
                </a:lnTo>
                <a:lnTo>
                  <a:pt x="16509" y="130428"/>
                </a:lnTo>
                <a:lnTo>
                  <a:pt x="25018" y="140208"/>
                </a:lnTo>
                <a:lnTo>
                  <a:pt x="34925" y="145668"/>
                </a:lnTo>
                <a:lnTo>
                  <a:pt x="46354" y="153924"/>
                </a:lnTo>
                <a:lnTo>
                  <a:pt x="71754" y="161925"/>
                </a:lnTo>
                <a:lnTo>
                  <a:pt x="85851" y="161798"/>
                </a:lnTo>
                <a:lnTo>
                  <a:pt x="98425" y="158750"/>
                </a:lnTo>
                <a:lnTo>
                  <a:pt x="140334" y="137033"/>
                </a:lnTo>
                <a:lnTo>
                  <a:pt x="160781" y="94614"/>
                </a:lnTo>
                <a:lnTo>
                  <a:pt x="163322" y="79121"/>
                </a:lnTo>
                <a:lnTo>
                  <a:pt x="158876" y="63626"/>
                </a:lnTo>
                <a:lnTo>
                  <a:pt x="137159" y="21843"/>
                </a:lnTo>
                <a:lnTo>
                  <a:pt x="115824" y="8127"/>
                </a:lnTo>
                <a:lnTo>
                  <a:pt x="90424" y="0"/>
                </a:lnTo>
                <a:close/>
              </a:path>
            </a:pathLst>
          </a:custGeom>
          <a:solidFill>
            <a:srgbClr val="D9D9D9"/>
          </a:solidFill>
        </p:spPr>
        <p:txBody>
          <a:bodyPr wrap="square" lIns="0" tIns="0" rIns="0" bIns="0" rtlCol="0"/>
          <a:lstStyle/>
          <a:p>
            <a:endParaRPr/>
          </a:p>
        </p:txBody>
      </p:sp>
      <p:sp>
        <p:nvSpPr>
          <p:cNvPr id="68" name="object 68"/>
          <p:cNvSpPr/>
          <p:nvPr/>
        </p:nvSpPr>
        <p:spPr>
          <a:xfrm>
            <a:off x="9230742" y="2804287"/>
            <a:ext cx="163830" cy="161925"/>
          </a:xfrm>
          <a:custGeom>
            <a:avLst/>
            <a:gdLst/>
            <a:ahLst/>
            <a:cxnLst/>
            <a:rect l="l" t="t" r="r" b="b"/>
            <a:pathLst>
              <a:path w="163829" h="161925">
                <a:moveTo>
                  <a:pt x="90424" y="0"/>
                </a:moveTo>
                <a:lnTo>
                  <a:pt x="34416" y="14986"/>
                </a:lnTo>
                <a:lnTo>
                  <a:pt x="6857" y="50418"/>
                </a:lnTo>
                <a:lnTo>
                  <a:pt x="0" y="64642"/>
                </a:lnTo>
                <a:lnTo>
                  <a:pt x="3301" y="98298"/>
                </a:lnTo>
                <a:lnTo>
                  <a:pt x="9270" y="116459"/>
                </a:lnTo>
                <a:lnTo>
                  <a:pt x="16509" y="130428"/>
                </a:lnTo>
                <a:lnTo>
                  <a:pt x="25018" y="140208"/>
                </a:lnTo>
                <a:lnTo>
                  <a:pt x="34925" y="145668"/>
                </a:lnTo>
                <a:lnTo>
                  <a:pt x="46354" y="153924"/>
                </a:lnTo>
                <a:lnTo>
                  <a:pt x="71754" y="161925"/>
                </a:lnTo>
                <a:lnTo>
                  <a:pt x="85851" y="161798"/>
                </a:lnTo>
                <a:lnTo>
                  <a:pt x="98425" y="158750"/>
                </a:lnTo>
                <a:lnTo>
                  <a:pt x="140334" y="137033"/>
                </a:lnTo>
                <a:lnTo>
                  <a:pt x="160781" y="94614"/>
                </a:lnTo>
                <a:lnTo>
                  <a:pt x="163322" y="79121"/>
                </a:lnTo>
                <a:lnTo>
                  <a:pt x="158876" y="63626"/>
                </a:lnTo>
                <a:lnTo>
                  <a:pt x="137159" y="21843"/>
                </a:lnTo>
                <a:lnTo>
                  <a:pt x="115824" y="8127"/>
                </a:lnTo>
                <a:lnTo>
                  <a:pt x="90424" y="0"/>
                </a:lnTo>
                <a:close/>
              </a:path>
            </a:pathLst>
          </a:custGeom>
          <a:solidFill>
            <a:srgbClr val="D9D9D9"/>
          </a:solidFill>
        </p:spPr>
        <p:txBody>
          <a:bodyPr wrap="square" lIns="0" tIns="0" rIns="0" bIns="0" rtlCol="0"/>
          <a:lstStyle/>
          <a:p>
            <a:endParaRPr/>
          </a:p>
        </p:txBody>
      </p:sp>
      <p:sp>
        <p:nvSpPr>
          <p:cNvPr id="69" name="object 69"/>
          <p:cNvSpPr/>
          <p:nvPr/>
        </p:nvSpPr>
        <p:spPr>
          <a:xfrm>
            <a:off x="9122793" y="2530730"/>
            <a:ext cx="146685" cy="146050"/>
          </a:xfrm>
          <a:custGeom>
            <a:avLst/>
            <a:gdLst/>
            <a:ahLst/>
            <a:cxnLst/>
            <a:rect l="l" t="t" r="r" b="b"/>
            <a:pathLst>
              <a:path w="146684" h="146050">
                <a:moveTo>
                  <a:pt x="70611" y="0"/>
                </a:moveTo>
                <a:lnTo>
                  <a:pt x="31495" y="13208"/>
                </a:lnTo>
                <a:lnTo>
                  <a:pt x="5206" y="44576"/>
                </a:lnTo>
                <a:lnTo>
                  <a:pt x="2666" y="60071"/>
                </a:lnTo>
                <a:lnTo>
                  <a:pt x="0" y="75565"/>
                </a:lnTo>
                <a:lnTo>
                  <a:pt x="14731" y="117475"/>
                </a:lnTo>
                <a:lnTo>
                  <a:pt x="53085" y="143637"/>
                </a:lnTo>
                <a:lnTo>
                  <a:pt x="75564" y="146050"/>
                </a:lnTo>
                <a:lnTo>
                  <a:pt x="88264" y="143129"/>
                </a:lnTo>
                <a:lnTo>
                  <a:pt x="127253" y="122809"/>
                </a:lnTo>
                <a:lnTo>
                  <a:pt x="143636" y="85979"/>
                </a:lnTo>
                <a:lnTo>
                  <a:pt x="146176" y="70485"/>
                </a:lnTo>
                <a:lnTo>
                  <a:pt x="143128" y="57912"/>
                </a:lnTo>
                <a:lnTo>
                  <a:pt x="124332" y="21717"/>
                </a:lnTo>
                <a:lnTo>
                  <a:pt x="81914" y="1143"/>
                </a:lnTo>
                <a:lnTo>
                  <a:pt x="70611" y="0"/>
                </a:lnTo>
                <a:close/>
              </a:path>
            </a:pathLst>
          </a:custGeom>
          <a:solidFill>
            <a:srgbClr val="D9D9D9"/>
          </a:solidFill>
        </p:spPr>
        <p:txBody>
          <a:bodyPr wrap="square" lIns="0" tIns="0" rIns="0" bIns="0" rtlCol="0"/>
          <a:lstStyle/>
          <a:p>
            <a:endParaRPr/>
          </a:p>
        </p:txBody>
      </p:sp>
      <p:sp>
        <p:nvSpPr>
          <p:cNvPr id="70" name="object 70"/>
          <p:cNvSpPr/>
          <p:nvPr/>
        </p:nvSpPr>
        <p:spPr>
          <a:xfrm>
            <a:off x="9122793" y="2530730"/>
            <a:ext cx="146685" cy="146050"/>
          </a:xfrm>
          <a:custGeom>
            <a:avLst/>
            <a:gdLst/>
            <a:ahLst/>
            <a:cxnLst/>
            <a:rect l="l" t="t" r="r" b="b"/>
            <a:pathLst>
              <a:path w="146684" h="146050">
                <a:moveTo>
                  <a:pt x="70611" y="0"/>
                </a:moveTo>
                <a:lnTo>
                  <a:pt x="31495" y="13208"/>
                </a:lnTo>
                <a:lnTo>
                  <a:pt x="5206" y="44576"/>
                </a:lnTo>
                <a:lnTo>
                  <a:pt x="2666" y="60071"/>
                </a:lnTo>
                <a:lnTo>
                  <a:pt x="0" y="75565"/>
                </a:lnTo>
                <a:lnTo>
                  <a:pt x="14731" y="117475"/>
                </a:lnTo>
                <a:lnTo>
                  <a:pt x="53085" y="143637"/>
                </a:lnTo>
                <a:lnTo>
                  <a:pt x="75564" y="146050"/>
                </a:lnTo>
                <a:lnTo>
                  <a:pt x="88264" y="143129"/>
                </a:lnTo>
                <a:lnTo>
                  <a:pt x="127253" y="122809"/>
                </a:lnTo>
                <a:lnTo>
                  <a:pt x="143636" y="85979"/>
                </a:lnTo>
                <a:lnTo>
                  <a:pt x="146176" y="70485"/>
                </a:lnTo>
                <a:lnTo>
                  <a:pt x="143128" y="57912"/>
                </a:lnTo>
                <a:lnTo>
                  <a:pt x="124332" y="21717"/>
                </a:lnTo>
                <a:lnTo>
                  <a:pt x="81914" y="1143"/>
                </a:lnTo>
                <a:lnTo>
                  <a:pt x="70611" y="0"/>
                </a:lnTo>
                <a:close/>
              </a:path>
            </a:pathLst>
          </a:custGeom>
          <a:solidFill>
            <a:srgbClr val="D9D9D9"/>
          </a:solidFill>
        </p:spPr>
        <p:txBody>
          <a:bodyPr wrap="square" lIns="0" tIns="0" rIns="0" bIns="0" rtlCol="0"/>
          <a:lstStyle/>
          <a:p>
            <a:endParaRPr/>
          </a:p>
        </p:txBody>
      </p:sp>
      <p:sp>
        <p:nvSpPr>
          <p:cNvPr id="71" name="object 71"/>
          <p:cNvSpPr/>
          <p:nvPr/>
        </p:nvSpPr>
        <p:spPr>
          <a:xfrm>
            <a:off x="8967217" y="2281302"/>
            <a:ext cx="131444" cy="132715"/>
          </a:xfrm>
          <a:custGeom>
            <a:avLst/>
            <a:gdLst/>
            <a:ahLst/>
            <a:cxnLst/>
            <a:rect l="l" t="t" r="r" b="b"/>
            <a:pathLst>
              <a:path w="131445" h="132714">
                <a:moveTo>
                  <a:pt x="72135" y="0"/>
                </a:moveTo>
                <a:lnTo>
                  <a:pt x="62229" y="1650"/>
                </a:lnTo>
                <a:lnTo>
                  <a:pt x="52450" y="3175"/>
                </a:lnTo>
                <a:lnTo>
                  <a:pt x="39877" y="6096"/>
                </a:lnTo>
                <a:lnTo>
                  <a:pt x="10667" y="31876"/>
                </a:lnTo>
                <a:lnTo>
                  <a:pt x="0" y="65786"/>
                </a:lnTo>
                <a:lnTo>
                  <a:pt x="126" y="79883"/>
                </a:lnTo>
                <a:lnTo>
                  <a:pt x="37337" y="124333"/>
                </a:lnTo>
                <a:lnTo>
                  <a:pt x="69850" y="132207"/>
                </a:lnTo>
                <a:lnTo>
                  <a:pt x="79628" y="130683"/>
                </a:lnTo>
                <a:lnTo>
                  <a:pt x="92201" y="127635"/>
                </a:lnTo>
                <a:lnTo>
                  <a:pt x="101980" y="119125"/>
                </a:lnTo>
                <a:lnTo>
                  <a:pt x="111632" y="110489"/>
                </a:lnTo>
                <a:lnTo>
                  <a:pt x="121411" y="101981"/>
                </a:lnTo>
                <a:lnTo>
                  <a:pt x="125475" y="89281"/>
                </a:lnTo>
                <a:lnTo>
                  <a:pt x="130936" y="79248"/>
                </a:lnTo>
                <a:lnTo>
                  <a:pt x="130428" y="51181"/>
                </a:lnTo>
                <a:lnTo>
                  <a:pt x="123316" y="37211"/>
                </a:lnTo>
                <a:lnTo>
                  <a:pt x="110362" y="19176"/>
                </a:lnTo>
                <a:lnTo>
                  <a:pt x="93217" y="6731"/>
                </a:lnTo>
                <a:lnTo>
                  <a:pt x="72135" y="0"/>
                </a:lnTo>
                <a:close/>
              </a:path>
            </a:pathLst>
          </a:custGeom>
          <a:solidFill>
            <a:srgbClr val="D9D9D9"/>
          </a:solidFill>
        </p:spPr>
        <p:txBody>
          <a:bodyPr wrap="square" lIns="0" tIns="0" rIns="0" bIns="0" rtlCol="0"/>
          <a:lstStyle/>
          <a:p>
            <a:endParaRPr/>
          </a:p>
        </p:txBody>
      </p:sp>
      <p:sp>
        <p:nvSpPr>
          <p:cNvPr id="72" name="object 72"/>
          <p:cNvSpPr/>
          <p:nvPr/>
        </p:nvSpPr>
        <p:spPr>
          <a:xfrm>
            <a:off x="8967217" y="2281302"/>
            <a:ext cx="131444" cy="132715"/>
          </a:xfrm>
          <a:custGeom>
            <a:avLst/>
            <a:gdLst/>
            <a:ahLst/>
            <a:cxnLst/>
            <a:rect l="l" t="t" r="r" b="b"/>
            <a:pathLst>
              <a:path w="131445" h="132714">
                <a:moveTo>
                  <a:pt x="72135" y="0"/>
                </a:moveTo>
                <a:lnTo>
                  <a:pt x="62229" y="1650"/>
                </a:lnTo>
                <a:lnTo>
                  <a:pt x="52450" y="3175"/>
                </a:lnTo>
                <a:lnTo>
                  <a:pt x="39877" y="6096"/>
                </a:lnTo>
                <a:lnTo>
                  <a:pt x="10667" y="31876"/>
                </a:lnTo>
                <a:lnTo>
                  <a:pt x="0" y="65786"/>
                </a:lnTo>
                <a:lnTo>
                  <a:pt x="126" y="79883"/>
                </a:lnTo>
                <a:lnTo>
                  <a:pt x="37337" y="124333"/>
                </a:lnTo>
                <a:lnTo>
                  <a:pt x="69850" y="132207"/>
                </a:lnTo>
                <a:lnTo>
                  <a:pt x="79628" y="130683"/>
                </a:lnTo>
                <a:lnTo>
                  <a:pt x="92201" y="127635"/>
                </a:lnTo>
                <a:lnTo>
                  <a:pt x="101980" y="119125"/>
                </a:lnTo>
                <a:lnTo>
                  <a:pt x="111632" y="110489"/>
                </a:lnTo>
                <a:lnTo>
                  <a:pt x="121411" y="101981"/>
                </a:lnTo>
                <a:lnTo>
                  <a:pt x="125475" y="89281"/>
                </a:lnTo>
                <a:lnTo>
                  <a:pt x="130936" y="79248"/>
                </a:lnTo>
                <a:lnTo>
                  <a:pt x="130428" y="51181"/>
                </a:lnTo>
                <a:lnTo>
                  <a:pt x="123316" y="37211"/>
                </a:lnTo>
                <a:lnTo>
                  <a:pt x="110362" y="19176"/>
                </a:lnTo>
                <a:lnTo>
                  <a:pt x="93217" y="6731"/>
                </a:lnTo>
                <a:lnTo>
                  <a:pt x="72135" y="0"/>
                </a:lnTo>
                <a:close/>
              </a:path>
            </a:pathLst>
          </a:custGeom>
          <a:solidFill>
            <a:srgbClr val="D9D9D9"/>
          </a:solidFill>
        </p:spPr>
        <p:txBody>
          <a:bodyPr wrap="square" lIns="0" tIns="0" rIns="0" bIns="0" rtlCol="0"/>
          <a:lstStyle/>
          <a:p>
            <a:endParaRPr/>
          </a:p>
        </p:txBody>
      </p:sp>
      <p:sp>
        <p:nvSpPr>
          <p:cNvPr id="73" name="object 73"/>
          <p:cNvSpPr/>
          <p:nvPr/>
        </p:nvSpPr>
        <p:spPr>
          <a:xfrm>
            <a:off x="8768588" y="2065148"/>
            <a:ext cx="118109" cy="116839"/>
          </a:xfrm>
          <a:custGeom>
            <a:avLst/>
            <a:gdLst/>
            <a:ahLst/>
            <a:cxnLst/>
            <a:rect l="l" t="t" r="r" b="b"/>
            <a:pathLst>
              <a:path w="118109" h="116839">
                <a:moveTo>
                  <a:pt x="66547" y="0"/>
                </a:moveTo>
                <a:lnTo>
                  <a:pt x="25907" y="10413"/>
                </a:lnTo>
                <a:lnTo>
                  <a:pt x="0" y="69850"/>
                </a:lnTo>
                <a:lnTo>
                  <a:pt x="7238" y="83819"/>
                </a:lnTo>
                <a:lnTo>
                  <a:pt x="18795" y="99060"/>
                </a:lnTo>
                <a:lnTo>
                  <a:pt x="35813" y="111505"/>
                </a:lnTo>
                <a:lnTo>
                  <a:pt x="52704" y="116839"/>
                </a:lnTo>
                <a:lnTo>
                  <a:pt x="82168" y="112140"/>
                </a:lnTo>
                <a:lnTo>
                  <a:pt x="114045" y="77977"/>
                </a:lnTo>
                <a:lnTo>
                  <a:pt x="117982" y="58165"/>
                </a:lnTo>
                <a:lnTo>
                  <a:pt x="117728" y="44195"/>
                </a:lnTo>
                <a:lnTo>
                  <a:pt x="110489" y="30225"/>
                </a:lnTo>
                <a:lnTo>
                  <a:pt x="99059" y="14986"/>
                </a:lnTo>
                <a:lnTo>
                  <a:pt x="86232" y="3810"/>
                </a:lnTo>
                <a:lnTo>
                  <a:pt x="66547" y="0"/>
                </a:lnTo>
                <a:close/>
              </a:path>
            </a:pathLst>
          </a:custGeom>
          <a:solidFill>
            <a:srgbClr val="D9D9D9"/>
          </a:solidFill>
        </p:spPr>
        <p:txBody>
          <a:bodyPr wrap="square" lIns="0" tIns="0" rIns="0" bIns="0" rtlCol="0"/>
          <a:lstStyle/>
          <a:p>
            <a:endParaRPr/>
          </a:p>
        </p:txBody>
      </p:sp>
      <p:sp>
        <p:nvSpPr>
          <p:cNvPr id="74" name="object 74"/>
          <p:cNvSpPr/>
          <p:nvPr/>
        </p:nvSpPr>
        <p:spPr>
          <a:xfrm>
            <a:off x="8768588" y="2065148"/>
            <a:ext cx="118109" cy="116839"/>
          </a:xfrm>
          <a:custGeom>
            <a:avLst/>
            <a:gdLst/>
            <a:ahLst/>
            <a:cxnLst/>
            <a:rect l="l" t="t" r="r" b="b"/>
            <a:pathLst>
              <a:path w="118109" h="116839">
                <a:moveTo>
                  <a:pt x="66547" y="0"/>
                </a:moveTo>
                <a:lnTo>
                  <a:pt x="25907" y="10413"/>
                </a:lnTo>
                <a:lnTo>
                  <a:pt x="0" y="69850"/>
                </a:lnTo>
                <a:lnTo>
                  <a:pt x="7238" y="83819"/>
                </a:lnTo>
                <a:lnTo>
                  <a:pt x="18795" y="99060"/>
                </a:lnTo>
                <a:lnTo>
                  <a:pt x="35813" y="111505"/>
                </a:lnTo>
                <a:lnTo>
                  <a:pt x="52704" y="116839"/>
                </a:lnTo>
                <a:lnTo>
                  <a:pt x="82168" y="112140"/>
                </a:lnTo>
                <a:lnTo>
                  <a:pt x="114045" y="77977"/>
                </a:lnTo>
                <a:lnTo>
                  <a:pt x="117982" y="58165"/>
                </a:lnTo>
                <a:lnTo>
                  <a:pt x="117728" y="44195"/>
                </a:lnTo>
                <a:lnTo>
                  <a:pt x="110489" y="30225"/>
                </a:lnTo>
                <a:lnTo>
                  <a:pt x="99059" y="14986"/>
                </a:lnTo>
                <a:lnTo>
                  <a:pt x="86232" y="3810"/>
                </a:lnTo>
                <a:lnTo>
                  <a:pt x="66547" y="0"/>
                </a:lnTo>
                <a:close/>
              </a:path>
            </a:pathLst>
          </a:custGeom>
          <a:solidFill>
            <a:srgbClr val="D9D9D9"/>
          </a:solidFill>
        </p:spPr>
        <p:txBody>
          <a:bodyPr wrap="square" lIns="0" tIns="0" rIns="0" bIns="0" rtlCol="0"/>
          <a:lstStyle/>
          <a:p>
            <a:endParaRPr/>
          </a:p>
        </p:txBody>
      </p:sp>
      <p:sp>
        <p:nvSpPr>
          <p:cNvPr id="75" name="object 75"/>
          <p:cNvSpPr/>
          <p:nvPr/>
        </p:nvSpPr>
        <p:spPr>
          <a:xfrm>
            <a:off x="8533637" y="1884807"/>
            <a:ext cx="107314" cy="106680"/>
          </a:xfrm>
          <a:custGeom>
            <a:avLst/>
            <a:gdLst/>
            <a:ahLst/>
            <a:cxnLst/>
            <a:rect l="l" t="t" r="r" b="b"/>
            <a:pathLst>
              <a:path w="107315" h="106680">
                <a:moveTo>
                  <a:pt x="41528" y="0"/>
                </a:moveTo>
                <a:lnTo>
                  <a:pt x="21970" y="10159"/>
                </a:lnTo>
                <a:lnTo>
                  <a:pt x="15112" y="17271"/>
                </a:lnTo>
                <a:lnTo>
                  <a:pt x="8127" y="24383"/>
                </a:lnTo>
                <a:lnTo>
                  <a:pt x="5460" y="32892"/>
                </a:lnTo>
                <a:lnTo>
                  <a:pt x="0" y="42798"/>
                </a:lnTo>
                <a:lnTo>
                  <a:pt x="1523" y="52577"/>
                </a:lnTo>
                <a:lnTo>
                  <a:pt x="17525" y="90296"/>
                </a:lnTo>
                <a:lnTo>
                  <a:pt x="47370" y="106679"/>
                </a:lnTo>
                <a:lnTo>
                  <a:pt x="64134" y="105028"/>
                </a:lnTo>
                <a:lnTo>
                  <a:pt x="76707" y="102107"/>
                </a:lnTo>
                <a:lnTo>
                  <a:pt x="83692" y="94995"/>
                </a:lnTo>
                <a:lnTo>
                  <a:pt x="92075" y="90550"/>
                </a:lnTo>
                <a:lnTo>
                  <a:pt x="102996" y="70738"/>
                </a:lnTo>
                <a:lnTo>
                  <a:pt x="105663" y="62356"/>
                </a:lnTo>
                <a:lnTo>
                  <a:pt x="106933" y="51053"/>
                </a:lnTo>
                <a:lnTo>
                  <a:pt x="105409" y="41275"/>
                </a:lnTo>
                <a:lnTo>
                  <a:pt x="102361" y="28575"/>
                </a:lnTo>
                <a:lnTo>
                  <a:pt x="90931" y="13334"/>
                </a:lnTo>
                <a:lnTo>
                  <a:pt x="75310" y="3682"/>
                </a:lnTo>
                <a:lnTo>
                  <a:pt x="59816" y="1142"/>
                </a:lnTo>
                <a:lnTo>
                  <a:pt x="41528" y="0"/>
                </a:lnTo>
                <a:close/>
              </a:path>
            </a:pathLst>
          </a:custGeom>
          <a:solidFill>
            <a:srgbClr val="D9D9D9"/>
          </a:solidFill>
        </p:spPr>
        <p:txBody>
          <a:bodyPr wrap="square" lIns="0" tIns="0" rIns="0" bIns="0" rtlCol="0"/>
          <a:lstStyle/>
          <a:p>
            <a:endParaRPr/>
          </a:p>
        </p:txBody>
      </p:sp>
      <p:sp>
        <p:nvSpPr>
          <p:cNvPr id="76" name="object 76"/>
          <p:cNvSpPr/>
          <p:nvPr/>
        </p:nvSpPr>
        <p:spPr>
          <a:xfrm>
            <a:off x="8533637" y="1884807"/>
            <a:ext cx="107314" cy="106680"/>
          </a:xfrm>
          <a:custGeom>
            <a:avLst/>
            <a:gdLst/>
            <a:ahLst/>
            <a:cxnLst/>
            <a:rect l="l" t="t" r="r" b="b"/>
            <a:pathLst>
              <a:path w="107315" h="106680">
                <a:moveTo>
                  <a:pt x="41528" y="0"/>
                </a:moveTo>
                <a:lnTo>
                  <a:pt x="21970" y="10159"/>
                </a:lnTo>
                <a:lnTo>
                  <a:pt x="15112" y="17271"/>
                </a:lnTo>
                <a:lnTo>
                  <a:pt x="8127" y="24383"/>
                </a:lnTo>
                <a:lnTo>
                  <a:pt x="5460" y="32892"/>
                </a:lnTo>
                <a:lnTo>
                  <a:pt x="0" y="42798"/>
                </a:lnTo>
                <a:lnTo>
                  <a:pt x="1523" y="52577"/>
                </a:lnTo>
                <a:lnTo>
                  <a:pt x="17525" y="90296"/>
                </a:lnTo>
                <a:lnTo>
                  <a:pt x="47370" y="106679"/>
                </a:lnTo>
                <a:lnTo>
                  <a:pt x="64134" y="105028"/>
                </a:lnTo>
                <a:lnTo>
                  <a:pt x="76707" y="102107"/>
                </a:lnTo>
                <a:lnTo>
                  <a:pt x="83692" y="94995"/>
                </a:lnTo>
                <a:lnTo>
                  <a:pt x="92075" y="90550"/>
                </a:lnTo>
                <a:lnTo>
                  <a:pt x="102996" y="70738"/>
                </a:lnTo>
                <a:lnTo>
                  <a:pt x="105663" y="62356"/>
                </a:lnTo>
                <a:lnTo>
                  <a:pt x="106933" y="51053"/>
                </a:lnTo>
                <a:lnTo>
                  <a:pt x="105409" y="41275"/>
                </a:lnTo>
                <a:lnTo>
                  <a:pt x="102361" y="28575"/>
                </a:lnTo>
                <a:lnTo>
                  <a:pt x="90931" y="13334"/>
                </a:lnTo>
                <a:lnTo>
                  <a:pt x="75310" y="3682"/>
                </a:lnTo>
                <a:lnTo>
                  <a:pt x="59816" y="1142"/>
                </a:lnTo>
                <a:lnTo>
                  <a:pt x="41528" y="0"/>
                </a:lnTo>
                <a:close/>
              </a:path>
            </a:pathLst>
          </a:custGeom>
          <a:solidFill>
            <a:srgbClr val="D9D9D9"/>
          </a:solidFill>
        </p:spPr>
        <p:txBody>
          <a:bodyPr wrap="square" lIns="0" tIns="0" rIns="0" bIns="0" rtlCol="0"/>
          <a:lstStyle/>
          <a:p>
            <a:endParaRPr/>
          </a:p>
        </p:txBody>
      </p:sp>
      <p:sp>
        <p:nvSpPr>
          <p:cNvPr id="77" name="object 77"/>
          <p:cNvSpPr/>
          <p:nvPr/>
        </p:nvSpPr>
        <p:spPr>
          <a:xfrm>
            <a:off x="8270113" y="1749299"/>
            <a:ext cx="95885" cy="94615"/>
          </a:xfrm>
          <a:custGeom>
            <a:avLst/>
            <a:gdLst/>
            <a:ahLst/>
            <a:cxnLst/>
            <a:rect l="l" t="t" r="r" b="b"/>
            <a:pathLst>
              <a:path w="95884" h="94614">
                <a:moveTo>
                  <a:pt x="54228" y="0"/>
                </a:moveTo>
                <a:lnTo>
                  <a:pt x="8127" y="20447"/>
                </a:lnTo>
                <a:lnTo>
                  <a:pt x="0" y="38862"/>
                </a:lnTo>
                <a:lnTo>
                  <a:pt x="3047" y="58419"/>
                </a:lnTo>
                <a:lnTo>
                  <a:pt x="6095" y="71119"/>
                </a:lnTo>
                <a:lnTo>
                  <a:pt x="14604" y="80772"/>
                </a:lnTo>
                <a:lnTo>
                  <a:pt x="27431" y="91821"/>
                </a:lnTo>
                <a:lnTo>
                  <a:pt x="42925" y="94361"/>
                </a:lnTo>
                <a:lnTo>
                  <a:pt x="57022" y="94234"/>
                </a:lnTo>
                <a:lnTo>
                  <a:pt x="94487" y="57150"/>
                </a:lnTo>
                <a:lnTo>
                  <a:pt x="95630" y="45847"/>
                </a:lnTo>
                <a:lnTo>
                  <a:pt x="94106" y="36067"/>
                </a:lnTo>
                <a:lnTo>
                  <a:pt x="89788" y="27686"/>
                </a:lnTo>
                <a:lnTo>
                  <a:pt x="82550" y="13715"/>
                </a:lnTo>
                <a:lnTo>
                  <a:pt x="66928" y="4063"/>
                </a:lnTo>
                <a:lnTo>
                  <a:pt x="54228" y="0"/>
                </a:lnTo>
                <a:close/>
              </a:path>
            </a:pathLst>
          </a:custGeom>
          <a:solidFill>
            <a:srgbClr val="D9D9D9"/>
          </a:solidFill>
        </p:spPr>
        <p:txBody>
          <a:bodyPr wrap="square" lIns="0" tIns="0" rIns="0" bIns="0" rtlCol="0"/>
          <a:lstStyle/>
          <a:p>
            <a:endParaRPr/>
          </a:p>
        </p:txBody>
      </p:sp>
      <p:sp>
        <p:nvSpPr>
          <p:cNvPr id="78" name="object 78"/>
          <p:cNvSpPr/>
          <p:nvPr/>
        </p:nvSpPr>
        <p:spPr>
          <a:xfrm>
            <a:off x="8270113" y="1749299"/>
            <a:ext cx="95885" cy="94615"/>
          </a:xfrm>
          <a:custGeom>
            <a:avLst/>
            <a:gdLst/>
            <a:ahLst/>
            <a:cxnLst/>
            <a:rect l="l" t="t" r="r" b="b"/>
            <a:pathLst>
              <a:path w="95884" h="94614">
                <a:moveTo>
                  <a:pt x="54228" y="0"/>
                </a:moveTo>
                <a:lnTo>
                  <a:pt x="8127" y="20447"/>
                </a:lnTo>
                <a:lnTo>
                  <a:pt x="0" y="38862"/>
                </a:lnTo>
                <a:lnTo>
                  <a:pt x="3047" y="58419"/>
                </a:lnTo>
                <a:lnTo>
                  <a:pt x="6095" y="71119"/>
                </a:lnTo>
                <a:lnTo>
                  <a:pt x="14604" y="80772"/>
                </a:lnTo>
                <a:lnTo>
                  <a:pt x="27431" y="91821"/>
                </a:lnTo>
                <a:lnTo>
                  <a:pt x="42925" y="94361"/>
                </a:lnTo>
                <a:lnTo>
                  <a:pt x="57022" y="94234"/>
                </a:lnTo>
                <a:lnTo>
                  <a:pt x="94487" y="57150"/>
                </a:lnTo>
                <a:lnTo>
                  <a:pt x="95630" y="45847"/>
                </a:lnTo>
                <a:lnTo>
                  <a:pt x="94106" y="36067"/>
                </a:lnTo>
                <a:lnTo>
                  <a:pt x="89788" y="27686"/>
                </a:lnTo>
                <a:lnTo>
                  <a:pt x="82550" y="13715"/>
                </a:lnTo>
                <a:lnTo>
                  <a:pt x="66928" y="4063"/>
                </a:lnTo>
                <a:lnTo>
                  <a:pt x="54228" y="0"/>
                </a:lnTo>
                <a:close/>
              </a:path>
            </a:pathLst>
          </a:custGeom>
          <a:solidFill>
            <a:srgbClr val="D9D9D9"/>
          </a:solidFill>
        </p:spPr>
        <p:txBody>
          <a:bodyPr wrap="square" lIns="0" tIns="0" rIns="0" bIns="0" rtlCol="0"/>
          <a:lstStyle/>
          <a:p>
            <a:endParaRPr/>
          </a:p>
        </p:txBody>
      </p:sp>
      <p:sp>
        <p:nvSpPr>
          <p:cNvPr id="79" name="object 79"/>
          <p:cNvSpPr/>
          <p:nvPr/>
        </p:nvSpPr>
        <p:spPr>
          <a:xfrm>
            <a:off x="7986141" y="1662303"/>
            <a:ext cx="86360" cy="84455"/>
          </a:xfrm>
          <a:custGeom>
            <a:avLst/>
            <a:gdLst/>
            <a:ahLst/>
            <a:cxnLst/>
            <a:rect l="l" t="t" r="r" b="b"/>
            <a:pathLst>
              <a:path w="86359" h="84455">
                <a:moveTo>
                  <a:pt x="48767" y="0"/>
                </a:moveTo>
                <a:lnTo>
                  <a:pt x="31876" y="1650"/>
                </a:lnTo>
                <a:lnTo>
                  <a:pt x="17906" y="8889"/>
                </a:lnTo>
                <a:lnTo>
                  <a:pt x="5460" y="18923"/>
                </a:lnTo>
                <a:lnTo>
                  <a:pt x="0" y="35813"/>
                </a:lnTo>
                <a:lnTo>
                  <a:pt x="1650" y="52705"/>
                </a:lnTo>
                <a:lnTo>
                  <a:pt x="3301" y="62484"/>
                </a:lnTo>
                <a:lnTo>
                  <a:pt x="13334" y="75057"/>
                </a:lnTo>
                <a:lnTo>
                  <a:pt x="23240" y="80518"/>
                </a:lnTo>
                <a:lnTo>
                  <a:pt x="35940" y="84455"/>
                </a:lnTo>
                <a:lnTo>
                  <a:pt x="49910" y="84327"/>
                </a:lnTo>
                <a:lnTo>
                  <a:pt x="68199" y="78359"/>
                </a:lnTo>
                <a:lnTo>
                  <a:pt x="79248" y="65532"/>
                </a:lnTo>
                <a:lnTo>
                  <a:pt x="85978" y="51435"/>
                </a:lnTo>
                <a:lnTo>
                  <a:pt x="84327" y="34544"/>
                </a:lnTo>
                <a:lnTo>
                  <a:pt x="81406" y="21971"/>
                </a:lnTo>
                <a:lnTo>
                  <a:pt x="72770" y="12319"/>
                </a:lnTo>
                <a:lnTo>
                  <a:pt x="61467" y="4063"/>
                </a:lnTo>
                <a:lnTo>
                  <a:pt x="48767" y="0"/>
                </a:lnTo>
                <a:close/>
              </a:path>
            </a:pathLst>
          </a:custGeom>
          <a:solidFill>
            <a:srgbClr val="D9D9D9"/>
          </a:solidFill>
        </p:spPr>
        <p:txBody>
          <a:bodyPr wrap="square" lIns="0" tIns="0" rIns="0" bIns="0" rtlCol="0"/>
          <a:lstStyle/>
          <a:p>
            <a:endParaRPr/>
          </a:p>
        </p:txBody>
      </p:sp>
      <p:sp>
        <p:nvSpPr>
          <p:cNvPr id="80" name="object 80"/>
          <p:cNvSpPr/>
          <p:nvPr/>
        </p:nvSpPr>
        <p:spPr>
          <a:xfrm>
            <a:off x="7986141" y="1662303"/>
            <a:ext cx="86360" cy="84455"/>
          </a:xfrm>
          <a:custGeom>
            <a:avLst/>
            <a:gdLst/>
            <a:ahLst/>
            <a:cxnLst/>
            <a:rect l="l" t="t" r="r" b="b"/>
            <a:pathLst>
              <a:path w="86359" h="84455">
                <a:moveTo>
                  <a:pt x="48767" y="0"/>
                </a:moveTo>
                <a:lnTo>
                  <a:pt x="31876" y="1650"/>
                </a:lnTo>
                <a:lnTo>
                  <a:pt x="17906" y="8889"/>
                </a:lnTo>
                <a:lnTo>
                  <a:pt x="5460" y="18923"/>
                </a:lnTo>
                <a:lnTo>
                  <a:pt x="0" y="35813"/>
                </a:lnTo>
                <a:lnTo>
                  <a:pt x="1650" y="52705"/>
                </a:lnTo>
                <a:lnTo>
                  <a:pt x="3301" y="62484"/>
                </a:lnTo>
                <a:lnTo>
                  <a:pt x="13334" y="75057"/>
                </a:lnTo>
                <a:lnTo>
                  <a:pt x="23240" y="80518"/>
                </a:lnTo>
                <a:lnTo>
                  <a:pt x="35940" y="84455"/>
                </a:lnTo>
                <a:lnTo>
                  <a:pt x="49910" y="84327"/>
                </a:lnTo>
                <a:lnTo>
                  <a:pt x="68199" y="78359"/>
                </a:lnTo>
                <a:lnTo>
                  <a:pt x="79248" y="65532"/>
                </a:lnTo>
                <a:lnTo>
                  <a:pt x="85978" y="51435"/>
                </a:lnTo>
                <a:lnTo>
                  <a:pt x="84327" y="34544"/>
                </a:lnTo>
                <a:lnTo>
                  <a:pt x="81406" y="21971"/>
                </a:lnTo>
                <a:lnTo>
                  <a:pt x="72770" y="12319"/>
                </a:lnTo>
                <a:lnTo>
                  <a:pt x="61467" y="4063"/>
                </a:lnTo>
                <a:lnTo>
                  <a:pt x="48767" y="0"/>
                </a:lnTo>
                <a:close/>
              </a:path>
            </a:pathLst>
          </a:custGeom>
          <a:solidFill>
            <a:srgbClr val="D9D9D9"/>
          </a:solidFill>
        </p:spPr>
        <p:txBody>
          <a:bodyPr wrap="square" lIns="0" tIns="0" rIns="0" bIns="0" rtlCol="0"/>
          <a:lstStyle/>
          <a:p>
            <a:endParaRPr/>
          </a:p>
        </p:txBody>
      </p:sp>
      <p:sp>
        <p:nvSpPr>
          <p:cNvPr id="81" name="object 81"/>
          <p:cNvSpPr/>
          <p:nvPr/>
        </p:nvSpPr>
        <p:spPr>
          <a:xfrm>
            <a:off x="7688960" y="1627378"/>
            <a:ext cx="77470" cy="76200"/>
          </a:xfrm>
          <a:custGeom>
            <a:avLst/>
            <a:gdLst/>
            <a:ahLst/>
            <a:cxnLst/>
            <a:rect l="l" t="t" r="r" b="b"/>
            <a:pathLst>
              <a:path w="77470" h="76200">
                <a:moveTo>
                  <a:pt x="44577" y="0"/>
                </a:moveTo>
                <a:lnTo>
                  <a:pt x="30480" y="254"/>
                </a:lnTo>
                <a:lnTo>
                  <a:pt x="16510" y="7493"/>
                </a:lnTo>
                <a:lnTo>
                  <a:pt x="6858" y="16001"/>
                </a:lnTo>
                <a:lnTo>
                  <a:pt x="0" y="30225"/>
                </a:lnTo>
                <a:lnTo>
                  <a:pt x="1650" y="46989"/>
                </a:lnTo>
                <a:lnTo>
                  <a:pt x="3175" y="56896"/>
                </a:lnTo>
                <a:lnTo>
                  <a:pt x="11811" y="66548"/>
                </a:lnTo>
                <a:lnTo>
                  <a:pt x="21717" y="72009"/>
                </a:lnTo>
                <a:lnTo>
                  <a:pt x="34417" y="76073"/>
                </a:lnTo>
                <a:lnTo>
                  <a:pt x="48514" y="75819"/>
                </a:lnTo>
                <a:lnTo>
                  <a:pt x="59690" y="70104"/>
                </a:lnTo>
                <a:lnTo>
                  <a:pt x="70739" y="57276"/>
                </a:lnTo>
                <a:lnTo>
                  <a:pt x="74675" y="44576"/>
                </a:lnTo>
                <a:lnTo>
                  <a:pt x="77343" y="29083"/>
                </a:lnTo>
                <a:lnTo>
                  <a:pt x="73025" y="20700"/>
                </a:lnTo>
                <a:lnTo>
                  <a:pt x="55880" y="1270"/>
                </a:lnTo>
                <a:lnTo>
                  <a:pt x="44577" y="0"/>
                </a:lnTo>
                <a:close/>
              </a:path>
            </a:pathLst>
          </a:custGeom>
          <a:solidFill>
            <a:srgbClr val="D9D9D9"/>
          </a:solidFill>
        </p:spPr>
        <p:txBody>
          <a:bodyPr wrap="square" lIns="0" tIns="0" rIns="0" bIns="0" rtlCol="0"/>
          <a:lstStyle/>
          <a:p>
            <a:endParaRPr/>
          </a:p>
        </p:txBody>
      </p:sp>
      <p:sp>
        <p:nvSpPr>
          <p:cNvPr id="82" name="object 82"/>
          <p:cNvSpPr/>
          <p:nvPr/>
        </p:nvSpPr>
        <p:spPr>
          <a:xfrm>
            <a:off x="7688960" y="1627378"/>
            <a:ext cx="77470" cy="76200"/>
          </a:xfrm>
          <a:custGeom>
            <a:avLst/>
            <a:gdLst/>
            <a:ahLst/>
            <a:cxnLst/>
            <a:rect l="l" t="t" r="r" b="b"/>
            <a:pathLst>
              <a:path w="77470" h="76200">
                <a:moveTo>
                  <a:pt x="44577" y="0"/>
                </a:moveTo>
                <a:lnTo>
                  <a:pt x="30480" y="254"/>
                </a:lnTo>
                <a:lnTo>
                  <a:pt x="16510" y="7493"/>
                </a:lnTo>
                <a:lnTo>
                  <a:pt x="6858" y="16001"/>
                </a:lnTo>
                <a:lnTo>
                  <a:pt x="0" y="30225"/>
                </a:lnTo>
                <a:lnTo>
                  <a:pt x="1650" y="46989"/>
                </a:lnTo>
                <a:lnTo>
                  <a:pt x="3175" y="56896"/>
                </a:lnTo>
                <a:lnTo>
                  <a:pt x="11811" y="66548"/>
                </a:lnTo>
                <a:lnTo>
                  <a:pt x="21717" y="72009"/>
                </a:lnTo>
                <a:lnTo>
                  <a:pt x="34417" y="76073"/>
                </a:lnTo>
                <a:lnTo>
                  <a:pt x="48514" y="75819"/>
                </a:lnTo>
                <a:lnTo>
                  <a:pt x="59690" y="70104"/>
                </a:lnTo>
                <a:lnTo>
                  <a:pt x="70739" y="57276"/>
                </a:lnTo>
                <a:lnTo>
                  <a:pt x="74675" y="44576"/>
                </a:lnTo>
                <a:lnTo>
                  <a:pt x="77343" y="29083"/>
                </a:lnTo>
                <a:lnTo>
                  <a:pt x="73025" y="20700"/>
                </a:lnTo>
                <a:lnTo>
                  <a:pt x="55880" y="1270"/>
                </a:lnTo>
                <a:lnTo>
                  <a:pt x="44577" y="0"/>
                </a:lnTo>
                <a:close/>
              </a:path>
            </a:pathLst>
          </a:custGeom>
          <a:solidFill>
            <a:srgbClr val="D9D9D9"/>
          </a:solidFill>
        </p:spPr>
        <p:txBody>
          <a:bodyPr wrap="square" lIns="0" tIns="0" rIns="0" bIns="0" rtlCol="0"/>
          <a:lstStyle/>
          <a:p>
            <a:endParaRPr/>
          </a:p>
        </p:txBody>
      </p:sp>
      <p:sp>
        <p:nvSpPr>
          <p:cNvPr id="83" name="object 83"/>
          <p:cNvSpPr/>
          <p:nvPr/>
        </p:nvSpPr>
        <p:spPr>
          <a:xfrm>
            <a:off x="7388353" y="1643379"/>
            <a:ext cx="70485" cy="70485"/>
          </a:xfrm>
          <a:custGeom>
            <a:avLst/>
            <a:gdLst/>
            <a:ahLst/>
            <a:cxnLst/>
            <a:rect l="l" t="t" r="r" b="b"/>
            <a:pathLst>
              <a:path w="70484" h="70485">
                <a:moveTo>
                  <a:pt x="27686" y="0"/>
                </a:moveTo>
                <a:lnTo>
                  <a:pt x="16509" y="5715"/>
                </a:lnTo>
                <a:lnTo>
                  <a:pt x="6857" y="14350"/>
                </a:lnTo>
                <a:lnTo>
                  <a:pt x="0" y="28448"/>
                </a:lnTo>
                <a:lnTo>
                  <a:pt x="253" y="42545"/>
                </a:lnTo>
                <a:lnTo>
                  <a:pt x="4572" y="50927"/>
                </a:lnTo>
                <a:lnTo>
                  <a:pt x="11683" y="57785"/>
                </a:lnTo>
                <a:lnTo>
                  <a:pt x="20320" y="67564"/>
                </a:lnTo>
                <a:lnTo>
                  <a:pt x="31496" y="68834"/>
                </a:lnTo>
                <a:lnTo>
                  <a:pt x="42799" y="69977"/>
                </a:lnTo>
                <a:lnTo>
                  <a:pt x="56769" y="62737"/>
                </a:lnTo>
                <a:lnTo>
                  <a:pt x="65024" y="51435"/>
                </a:lnTo>
                <a:lnTo>
                  <a:pt x="70484" y="41529"/>
                </a:lnTo>
                <a:lnTo>
                  <a:pt x="70230" y="27432"/>
                </a:lnTo>
                <a:lnTo>
                  <a:pt x="65913" y="19050"/>
                </a:lnTo>
                <a:lnTo>
                  <a:pt x="60198" y="7874"/>
                </a:lnTo>
                <a:lnTo>
                  <a:pt x="50292" y="2412"/>
                </a:lnTo>
                <a:lnTo>
                  <a:pt x="38989" y="1143"/>
                </a:lnTo>
                <a:lnTo>
                  <a:pt x="27686" y="0"/>
                </a:lnTo>
                <a:close/>
              </a:path>
            </a:pathLst>
          </a:custGeom>
          <a:solidFill>
            <a:srgbClr val="D9D9D9"/>
          </a:solidFill>
        </p:spPr>
        <p:txBody>
          <a:bodyPr wrap="square" lIns="0" tIns="0" rIns="0" bIns="0" rtlCol="0"/>
          <a:lstStyle/>
          <a:p>
            <a:endParaRPr/>
          </a:p>
        </p:txBody>
      </p:sp>
      <p:sp>
        <p:nvSpPr>
          <p:cNvPr id="84" name="object 84"/>
          <p:cNvSpPr/>
          <p:nvPr/>
        </p:nvSpPr>
        <p:spPr>
          <a:xfrm>
            <a:off x="7388353" y="1643379"/>
            <a:ext cx="70485" cy="70485"/>
          </a:xfrm>
          <a:custGeom>
            <a:avLst/>
            <a:gdLst/>
            <a:ahLst/>
            <a:cxnLst/>
            <a:rect l="l" t="t" r="r" b="b"/>
            <a:pathLst>
              <a:path w="70484" h="70485">
                <a:moveTo>
                  <a:pt x="27686" y="0"/>
                </a:moveTo>
                <a:lnTo>
                  <a:pt x="16509" y="5715"/>
                </a:lnTo>
                <a:lnTo>
                  <a:pt x="6857" y="14350"/>
                </a:lnTo>
                <a:lnTo>
                  <a:pt x="0" y="28448"/>
                </a:lnTo>
                <a:lnTo>
                  <a:pt x="253" y="42545"/>
                </a:lnTo>
                <a:lnTo>
                  <a:pt x="4572" y="50927"/>
                </a:lnTo>
                <a:lnTo>
                  <a:pt x="11683" y="57785"/>
                </a:lnTo>
                <a:lnTo>
                  <a:pt x="20320" y="67564"/>
                </a:lnTo>
                <a:lnTo>
                  <a:pt x="31496" y="68834"/>
                </a:lnTo>
                <a:lnTo>
                  <a:pt x="42799" y="69977"/>
                </a:lnTo>
                <a:lnTo>
                  <a:pt x="56769" y="62737"/>
                </a:lnTo>
                <a:lnTo>
                  <a:pt x="65024" y="51435"/>
                </a:lnTo>
                <a:lnTo>
                  <a:pt x="70484" y="41529"/>
                </a:lnTo>
                <a:lnTo>
                  <a:pt x="70230" y="27432"/>
                </a:lnTo>
                <a:lnTo>
                  <a:pt x="65913" y="19050"/>
                </a:lnTo>
                <a:lnTo>
                  <a:pt x="60198" y="7874"/>
                </a:lnTo>
                <a:lnTo>
                  <a:pt x="50292" y="2412"/>
                </a:lnTo>
                <a:lnTo>
                  <a:pt x="38989" y="1143"/>
                </a:lnTo>
                <a:lnTo>
                  <a:pt x="27686" y="0"/>
                </a:lnTo>
                <a:close/>
              </a:path>
            </a:pathLst>
          </a:custGeom>
          <a:solidFill>
            <a:srgbClr val="D9D9D9"/>
          </a:solidFill>
        </p:spPr>
        <p:txBody>
          <a:bodyPr wrap="square" lIns="0" tIns="0" rIns="0" bIns="0" rtlCol="0"/>
          <a:lstStyle/>
          <a:p>
            <a:endParaRPr/>
          </a:p>
        </p:txBody>
      </p:sp>
      <p:sp>
        <p:nvSpPr>
          <p:cNvPr id="85" name="object 85"/>
          <p:cNvSpPr/>
          <p:nvPr/>
        </p:nvSpPr>
        <p:spPr>
          <a:xfrm>
            <a:off x="7095742" y="1712467"/>
            <a:ext cx="63501" cy="62230"/>
          </a:xfrm>
          <a:custGeom>
            <a:avLst/>
            <a:gdLst/>
            <a:ahLst/>
            <a:cxnLst/>
            <a:rect l="l" t="t" r="r" b="b"/>
            <a:pathLst>
              <a:path w="63500" h="62230">
                <a:moveTo>
                  <a:pt x="23367" y="0"/>
                </a:moveTo>
                <a:lnTo>
                  <a:pt x="12191" y="5715"/>
                </a:lnTo>
                <a:lnTo>
                  <a:pt x="5206" y="12827"/>
                </a:lnTo>
                <a:lnTo>
                  <a:pt x="1270" y="25527"/>
                </a:lnTo>
                <a:lnTo>
                  <a:pt x="0" y="36830"/>
                </a:lnTo>
                <a:lnTo>
                  <a:pt x="8635" y="53594"/>
                </a:lnTo>
                <a:lnTo>
                  <a:pt x="18541" y="59055"/>
                </a:lnTo>
                <a:lnTo>
                  <a:pt x="27050" y="61722"/>
                </a:lnTo>
                <a:lnTo>
                  <a:pt x="36829" y="60198"/>
                </a:lnTo>
                <a:lnTo>
                  <a:pt x="49529" y="57150"/>
                </a:lnTo>
                <a:lnTo>
                  <a:pt x="57784" y="45847"/>
                </a:lnTo>
                <a:lnTo>
                  <a:pt x="63246" y="35941"/>
                </a:lnTo>
                <a:lnTo>
                  <a:pt x="60198" y="23241"/>
                </a:lnTo>
                <a:lnTo>
                  <a:pt x="60071" y="16256"/>
                </a:lnTo>
                <a:lnTo>
                  <a:pt x="52958" y="9398"/>
                </a:lnTo>
                <a:lnTo>
                  <a:pt x="45847" y="2412"/>
                </a:lnTo>
                <a:lnTo>
                  <a:pt x="34544" y="1143"/>
                </a:lnTo>
                <a:lnTo>
                  <a:pt x="23367" y="0"/>
                </a:lnTo>
                <a:close/>
              </a:path>
            </a:pathLst>
          </a:custGeom>
          <a:solidFill>
            <a:srgbClr val="D9D9D9"/>
          </a:solidFill>
        </p:spPr>
        <p:txBody>
          <a:bodyPr wrap="square" lIns="0" tIns="0" rIns="0" bIns="0" rtlCol="0"/>
          <a:lstStyle/>
          <a:p>
            <a:endParaRPr/>
          </a:p>
        </p:txBody>
      </p:sp>
      <p:sp>
        <p:nvSpPr>
          <p:cNvPr id="86" name="object 86"/>
          <p:cNvSpPr/>
          <p:nvPr/>
        </p:nvSpPr>
        <p:spPr>
          <a:xfrm>
            <a:off x="7095742" y="1712467"/>
            <a:ext cx="63501" cy="62230"/>
          </a:xfrm>
          <a:custGeom>
            <a:avLst/>
            <a:gdLst/>
            <a:ahLst/>
            <a:cxnLst/>
            <a:rect l="l" t="t" r="r" b="b"/>
            <a:pathLst>
              <a:path w="63500" h="62230">
                <a:moveTo>
                  <a:pt x="23367" y="0"/>
                </a:moveTo>
                <a:lnTo>
                  <a:pt x="12191" y="5715"/>
                </a:lnTo>
                <a:lnTo>
                  <a:pt x="5206" y="12827"/>
                </a:lnTo>
                <a:lnTo>
                  <a:pt x="1270" y="25527"/>
                </a:lnTo>
                <a:lnTo>
                  <a:pt x="0" y="36830"/>
                </a:lnTo>
                <a:lnTo>
                  <a:pt x="8635" y="53594"/>
                </a:lnTo>
                <a:lnTo>
                  <a:pt x="18541" y="59055"/>
                </a:lnTo>
                <a:lnTo>
                  <a:pt x="27050" y="61722"/>
                </a:lnTo>
                <a:lnTo>
                  <a:pt x="36829" y="60198"/>
                </a:lnTo>
                <a:lnTo>
                  <a:pt x="49529" y="57150"/>
                </a:lnTo>
                <a:lnTo>
                  <a:pt x="57784" y="45847"/>
                </a:lnTo>
                <a:lnTo>
                  <a:pt x="63246" y="35941"/>
                </a:lnTo>
                <a:lnTo>
                  <a:pt x="60198" y="23241"/>
                </a:lnTo>
                <a:lnTo>
                  <a:pt x="60071" y="16256"/>
                </a:lnTo>
                <a:lnTo>
                  <a:pt x="52958" y="9398"/>
                </a:lnTo>
                <a:lnTo>
                  <a:pt x="45847" y="2412"/>
                </a:lnTo>
                <a:lnTo>
                  <a:pt x="34544" y="1143"/>
                </a:lnTo>
                <a:lnTo>
                  <a:pt x="23367" y="0"/>
                </a:lnTo>
                <a:close/>
              </a:path>
            </a:pathLst>
          </a:custGeom>
          <a:solidFill>
            <a:srgbClr val="D9D9D9"/>
          </a:solidFill>
        </p:spPr>
        <p:txBody>
          <a:bodyPr wrap="square" lIns="0" tIns="0" rIns="0" bIns="0" rtlCol="0"/>
          <a:lstStyle/>
          <a:p>
            <a:endParaRPr/>
          </a:p>
        </p:txBody>
      </p:sp>
      <p:sp>
        <p:nvSpPr>
          <p:cNvPr id="87" name="object 87"/>
          <p:cNvSpPr/>
          <p:nvPr/>
        </p:nvSpPr>
        <p:spPr>
          <a:xfrm>
            <a:off x="8757158" y="2436241"/>
            <a:ext cx="135255" cy="138430"/>
          </a:xfrm>
          <a:custGeom>
            <a:avLst/>
            <a:gdLst/>
            <a:ahLst/>
            <a:cxnLst/>
            <a:rect l="l" t="t" r="r" b="b"/>
            <a:pathLst>
              <a:path w="135254" h="138430">
                <a:moveTo>
                  <a:pt x="72136" y="0"/>
                </a:moveTo>
                <a:lnTo>
                  <a:pt x="31623" y="10541"/>
                </a:lnTo>
                <a:lnTo>
                  <a:pt x="0" y="58800"/>
                </a:lnTo>
                <a:lnTo>
                  <a:pt x="253" y="79883"/>
                </a:lnTo>
                <a:lnTo>
                  <a:pt x="7620" y="100837"/>
                </a:lnTo>
                <a:lnTo>
                  <a:pt x="16256" y="117601"/>
                </a:lnTo>
                <a:lnTo>
                  <a:pt x="38989" y="134112"/>
                </a:lnTo>
                <a:lnTo>
                  <a:pt x="51689" y="138175"/>
                </a:lnTo>
                <a:lnTo>
                  <a:pt x="79883" y="137668"/>
                </a:lnTo>
                <a:lnTo>
                  <a:pt x="123063" y="111760"/>
                </a:lnTo>
                <a:lnTo>
                  <a:pt x="135255" y="80645"/>
                </a:lnTo>
                <a:lnTo>
                  <a:pt x="134874" y="59562"/>
                </a:lnTo>
                <a:lnTo>
                  <a:pt x="118872" y="21844"/>
                </a:lnTo>
                <a:lnTo>
                  <a:pt x="72136" y="0"/>
                </a:lnTo>
                <a:close/>
              </a:path>
            </a:pathLst>
          </a:custGeom>
          <a:solidFill>
            <a:srgbClr val="D9D9D9"/>
          </a:solidFill>
        </p:spPr>
        <p:txBody>
          <a:bodyPr wrap="square" lIns="0" tIns="0" rIns="0" bIns="0" rtlCol="0"/>
          <a:lstStyle/>
          <a:p>
            <a:endParaRPr/>
          </a:p>
        </p:txBody>
      </p:sp>
      <p:sp>
        <p:nvSpPr>
          <p:cNvPr id="88" name="object 88"/>
          <p:cNvSpPr/>
          <p:nvPr/>
        </p:nvSpPr>
        <p:spPr>
          <a:xfrm>
            <a:off x="8757158" y="2436241"/>
            <a:ext cx="135255" cy="138430"/>
          </a:xfrm>
          <a:custGeom>
            <a:avLst/>
            <a:gdLst/>
            <a:ahLst/>
            <a:cxnLst/>
            <a:rect l="l" t="t" r="r" b="b"/>
            <a:pathLst>
              <a:path w="135254" h="138430">
                <a:moveTo>
                  <a:pt x="72136" y="0"/>
                </a:moveTo>
                <a:lnTo>
                  <a:pt x="31623" y="10541"/>
                </a:lnTo>
                <a:lnTo>
                  <a:pt x="0" y="58800"/>
                </a:lnTo>
                <a:lnTo>
                  <a:pt x="253" y="79883"/>
                </a:lnTo>
                <a:lnTo>
                  <a:pt x="7620" y="100837"/>
                </a:lnTo>
                <a:lnTo>
                  <a:pt x="16256" y="117601"/>
                </a:lnTo>
                <a:lnTo>
                  <a:pt x="38989" y="134112"/>
                </a:lnTo>
                <a:lnTo>
                  <a:pt x="51689" y="138175"/>
                </a:lnTo>
                <a:lnTo>
                  <a:pt x="79883" y="137668"/>
                </a:lnTo>
                <a:lnTo>
                  <a:pt x="123063" y="111760"/>
                </a:lnTo>
                <a:lnTo>
                  <a:pt x="135255" y="80645"/>
                </a:lnTo>
                <a:lnTo>
                  <a:pt x="134874" y="59562"/>
                </a:lnTo>
                <a:lnTo>
                  <a:pt x="118872" y="21844"/>
                </a:lnTo>
                <a:lnTo>
                  <a:pt x="72136" y="0"/>
                </a:lnTo>
                <a:close/>
              </a:path>
            </a:pathLst>
          </a:custGeom>
          <a:solidFill>
            <a:srgbClr val="D9D9D9"/>
          </a:solidFill>
        </p:spPr>
        <p:txBody>
          <a:bodyPr wrap="square" lIns="0" tIns="0" rIns="0" bIns="0" rtlCol="0"/>
          <a:lstStyle/>
          <a:p>
            <a:endParaRPr/>
          </a:p>
        </p:txBody>
      </p:sp>
      <p:sp>
        <p:nvSpPr>
          <p:cNvPr id="89" name="object 89"/>
          <p:cNvSpPr/>
          <p:nvPr/>
        </p:nvSpPr>
        <p:spPr>
          <a:xfrm>
            <a:off x="8902318" y="2661921"/>
            <a:ext cx="124461" cy="125095"/>
          </a:xfrm>
          <a:custGeom>
            <a:avLst/>
            <a:gdLst/>
            <a:ahLst/>
            <a:cxnLst/>
            <a:rect l="l" t="t" r="r" b="b"/>
            <a:pathLst>
              <a:path w="124459" h="125094">
                <a:moveTo>
                  <a:pt x="65277" y="0"/>
                </a:moveTo>
                <a:lnTo>
                  <a:pt x="20574" y="16128"/>
                </a:lnTo>
                <a:lnTo>
                  <a:pt x="0" y="51562"/>
                </a:lnTo>
                <a:lnTo>
                  <a:pt x="380" y="72643"/>
                </a:lnTo>
                <a:lnTo>
                  <a:pt x="24891" y="113156"/>
                </a:lnTo>
                <a:lnTo>
                  <a:pt x="69976" y="125094"/>
                </a:lnTo>
                <a:lnTo>
                  <a:pt x="82550" y="122046"/>
                </a:lnTo>
                <a:lnTo>
                  <a:pt x="93725" y="116331"/>
                </a:lnTo>
                <a:lnTo>
                  <a:pt x="103504" y="107695"/>
                </a:lnTo>
                <a:lnTo>
                  <a:pt x="115824" y="90677"/>
                </a:lnTo>
                <a:lnTo>
                  <a:pt x="124078" y="72262"/>
                </a:lnTo>
                <a:lnTo>
                  <a:pt x="120903" y="52704"/>
                </a:lnTo>
                <a:lnTo>
                  <a:pt x="117855" y="33019"/>
                </a:lnTo>
                <a:lnTo>
                  <a:pt x="107823" y="20446"/>
                </a:lnTo>
                <a:lnTo>
                  <a:pt x="96392" y="12191"/>
                </a:lnTo>
                <a:lnTo>
                  <a:pt x="76580" y="1269"/>
                </a:lnTo>
                <a:lnTo>
                  <a:pt x="65277" y="0"/>
                </a:lnTo>
                <a:close/>
              </a:path>
            </a:pathLst>
          </a:custGeom>
          <a:solidFill>
            <a:srgbClr val="D9D9D9"/>
          </a:solidFill>
        </p:spPr>
        <p:txBody>
          <a:bodyPr wrap="square" lIns="0" tIns="0" rIns="0" bIns="0" rtlCol="0"/>
          <a:lstStyle/>
          <a:p>
            <a:endParaRPr/>
          </a:p>
        </p:txBody>
      </p:sp>
      <p:sp>
        <p:nvSpPr>
          <p:cNvPr id="90" name="object 90"/>
          <p:cNvSpPr/>
          <p:nvPr/>
        </p:nvSpPr>
        <p:spPr>
          <a:xfrm>
            <a:off x="8902318" y="2661921"/>
            <a:ext cx="124461" cy="125095"/>
          </a:xfrm>
          <a:custGeom>
            <a:avLst/>
            <a:gdLst/>
            <a:ahLst/>
            <a:cxnLst/>
            <a:rect l="l" t="t" r="r" b="b"/>
            <a:pathLst>
              <a:path w="124459" h="125094">
                <a:moveTo>
                  <a:pt x="65277" y="0"/>
                </a:moveTo>
                <a:lnTo>
                  <a:pt x="20574" y="16128"/>
                </a:lnTo>
                <a:lnTo>
                  <a:pt x="0" y="51562"/>
                </a:lnTo>
                <a:lnTo>
                  <a:pt x="380" y="72643"/>
                </a:lnTo>
                <a:lnTo>
                  <a:pt x="24891" y="113156"/>
                </a:lnTo>
                <a:lnTo>
                  <a:pt x="69976" y="125094"/>
                </a:lnTo>
                <a:lnTo>
                  <a:pt x="82550" y="122046"/>
                </a:lnTo>
                <a:lnTo>
                  <a:pt x="93725" y="116331"/>
                </a:lnTo>
                <a:lnTo>
                  <a:pt x="103504" y="107695"/>
                </a:lnTo>
                <a:lnTo>
                  <a:pt x="115824" y="90677"/>
                </a:lnTo>
                <a:lnTo>
                  <a:pt x="124078" y="72262"/>
                </a:lnTo>
                <a:lnTo>
                  <a:pt x="120903" y="52704"/>
                </a:lnTo>
                <a:lnTo>
                  <a:pt x="117855" y="33019"/>
                </a:lnTo>
                <a:lnTo>
                  <a:pt x="107823" y="20446"/>
                </a:lnTo>
                <a:lnTo>
                  <a:pt x="96392" y="12191"/>
                </a:lnTo>
                <a:lnTo>
                  <a:pt x="76580" y="1269"/>
                </a:lnTo>
                <a:lnTo>
                  <a:pt x="65277" y="0"/>
                </a:lnTo>
                <a:close/>
              </a:path>
            </a:pathLst>
          </a:custGeom>
          <a:solidFill>
            <a:srgbClr val="D9D9D9"/>
          </a:solidFill>
        </p:spPr>
        <p:txBody>
          <a:bodyPr wrap="square" lIns="0" tIns="0" rIns="0" bIns="0" rtlCol="0"/>
          <a:lstStyle/>
          <a:p>
            <a:endParaRPr/>
          </a:p>
        </p:txBody>
      </p:sp>
      <p:sp>
        <p:nvSpPr>
          <p:cNvPr id="91" name="object 91"/>
          <p:cNvSpPr/>
          <p:nvPr/>
        </p:nvSpPr>
        <p:spPr>
          <a:xfrm>
            <a:off x="9007349" y="2905125"/>
            <a:ext cx="111125" cy="114300"/>
          </a:xfrm>
          <a:custGeom>
            <a:avLst/>
            <a:gdLst/>
            <a:ahLst/>
            <a:cxnLst/>
            <a:rect l="l" t="t" r="r" b="b"/>
            <a:pathLst>
              <a:path w="111125" h="114300">
                <a:moveTo>
                  <a:pt x="58038" y="0"/>
                </a:moveTo>
                <a:lnTo>
                  <a:pt x="45466" y="3048"/>
                </a:lnTo>
                <a:lnTo>
                  <a:pt x="35686" y="4572"/>
                </a:lnTo>
                <a:lnTo>
                  <a:pt x="27304" y="8889"/>
                </a:lnTo>
                <a:lnTo>
                  <a:pt x="17525" y="17399"/>
                </a:lnTo>
                <a:lnTo>
                  <a:pt x="6476" y="30225"/>
                </a:lnTo>
                <a:lnTo>
                  <a:pt x="1143" y="47244"/>
                </a:lnTo>
                <a:lnTo>
                  <a:pt x="0" y="65532"/>
                </a:lnTo>
                <a:lnTo>
                  <a:pt x="5969" y="83692"/>
                </a:lnTo>
                <a:lnTo>
                  <a:pt x="41528" y="111251"/>
                </a:lnTo>
                <a:lnTo>
                  <a:pt x="64007" y="113791"/>
                </a:lnTo>
                <a:lnTo>
                  <a:pt x="72390" y="109474"/>
                </a:lnTo>
                <a:lnTo>
                  <a:pt x="84962" y="106425"/>
                </a:lnTo>
                <a:lnTo>
                  <a:pt x="105791" y="85089"/>
                </a:lnTo>
                <a:lnTo>
                  <a:pt x="111125" y="68072"/>
                </a:lnTo>
                <a:lnTo>
                  <a:pt x="109474" y="51180"/>
                </a:lnTo>
                <a:lnTo>
                  <a:pt x="103504" y="33020"/>
                </a:lnTo>
                <a:lnTo>
                  <a:pt x="96266" y="19050"/>
                </a:lnTo>
                <a:lnTo>
                  <a:pt x="89153" y="12191"/>
                </a:lnTo>
                <a:lnTo>
                  <a:pt x="79248" y="6730"/>
                </a:lnTo>
                <a:lnTo>
                  <a:pt x="58038" y="0"/>
                </a:lnTo>
                <a:close/>
              </a:path>
            </a:pathLst>
          </a:custGeom>
          <a:solidFill>
            <a:srgbClr val="D9D9D9"/>
          </a:solidFill>
        </p:spPr>
        <p:txBody>
          <a:bodyPr wrap="square" lIns="0" tIns="0" rIns="0" bIns="0" rtlCol="0"/>
          <a:lstStyle/>
          <a:p>
            <a:endParaRPr/>
          </a:p>
        </p:txBody>
      </p:sp>
      <p:sp>
        <p:nvSpPr>
          <p:cNvPr id="92" name="object 92"/>
          <p:cNvSpPr/>
          <p:nvPr/>
        </p:nvSpPr>
        <p:spPr>
          <a:xfrm>
            <a:off x="9007349" y="2905125"/>
            <a:ext cx="111125" cy="114300"/>
          </a:xfrm>
          <a:custGeom>
            <a:avLst/>
            <a:gdLst/>
            <a:ahLst/>
            <a:cxnLst/>
            <a:rect l="l" t="t" r="r" b="b"/>
            <a:pathLst>
              <a:path w="111125" h="114300">
                <a:moveTo>
                  <a:pt x="58038" y="0"/>
                </a:moveTo>
                <a:lnTo>
                  <a:pt x="45466" y="3048"/>
                </a:lnTo>
                <a:lnTo>
                  <a:pt x="35686" y="4572"/>
                </a:lnTo>
                <a:lnTo>
                  <a:pt x="27304" y="8889"/>
                </a:lnTo>
                <a:lnTo>
                  <a:pt x="17525" y="17399"/>
                </a:lnTo>
                <a:lnTo>
                  <a:pt x="6476" y="30225"/>
                </a:lnTo>
                <a:lnTo>
                  <a:pt x="1143" y="47244"/>
                </a:lnTo>
                <a:lnTo>
                  <a:pt x="0" y="65532"/>
                </a:lnTo>
                <a:lnTo>
                  <a:pt x="5969" y="83692"/>
                </a:lnTo>
                <a:lnTo>
                  <a:pt x="41528" y="111251"/>
                </a:lnTo>
                <a:lnTo>
                  <a:pt x="64007" y="113791"/>
                </a:lnTo>
                <a:lnTo>
                  <a:pt x="72390" y="109474"/>
                </a:lnTo>
                <a:lnTo>
                  <a:pt x="84962" y="106425"/>
                </a:lnTo>
                <a:lnTo>
                  <a:pt x="105791" y="85089"/>
                </a:lnTo>
                <a:lnTo>
                  <a:pt x="111125" y="68072"/>
                </a:lnTo>
                <a:lnTo>
                  <a:pt x="109474" y="51180"/>
                </a:lnTo>
                <a:lnTo>
                  <a:pt x="103504" y="33020"/>
                </a:lnTo>
                <a:lnTo>
                  <a:pt x="96266" y="19050"/>
                </a:lnTo>
                <a:lnTo>
                  <a:pt x="89153" y="12191"/>
                </a:lnTo>
                <a:lnTo>
                  <a:pt x="79248" y="6730"/>
                </a:lnTo>
                <a:lnTo>
                  <a:pt x="58038" y="0"/>
                </a:lnTo>
                <a:close/>
              </a:path>
            </a:pathLst>
          </a:custGeom>
          <a:solidFill>
            <a:srgbClr val="D9D9D9"/>
          </a:solidFill>
        </p:spPr>
        <p:txBody>
          <a:bodyPr wrap="square" lIns="0" tIns="0" rIns="0" bIns="0" rtlCol="0"/>
          <a:lstStyle/>
          <a:p>
            <a:endParaRPr/>
          </a:p>
        </p:txBody>
      </p:sp>
      <p:sp>
        <p:nvSpPr>
          <p:cNvPr id="93" name="object 93"/>
          <p:cNvSpPr/>
          <p:nvPr/>
        </p:nvSpPr>
        <p:spPr>
          <a:xfrm>
            <a:off x="9067293" y="3164332"/>
            <a:ext cx="100965" cy="101600"/>
          </a:xfrm>
          <a:custGeom>
            <a:avLst/>
            <a:gdLst/>
            <a:ahLst/>
            <a:cxnLst/>
            <a:rect l="l" t="t" r="r" b="b"/>
            <a:pathLst>
              <a:path w="100965" h="101600">
                <a:moveTo>
                  <a:pt x="51180" y="0"/>
                </a:moveTo>
                <a:lnTo>
                  <a:pt x="5206" y="27431"/>
                </a:lnTo>
                <a:lnTo>
                  <a:pt x="2666" y="42925"/>
                </a:lnTo>
                <a:lnTo>
                  <a:pt x="0" y="58419"/>
                </a:lnTo>
                <a:lnTo>
                  <a:pt x="30099" y="96012"/>
                </a:lnTo>
                <a:lnTo>
                  <a:pt x="47116" y="101345"/>
                </a:lnTo>
                <a:lnTo>
                  <a:pt x="66675" y="98170"/>
                </a:lnTo>
                <a:lnTo>
                  <a:pt x="86232" y="88137"/>
                </a:lnTo>
                <a:lnTo>
                  <a:pt x="93151" y="73787"/>
                </a:lnTo>
                <a:lnTo>
                  <a:pt x="99822" y="59816"/>
                </a:lnTo>
                <a:lnTo>
                  <a:pt x="100964" y="41528"/>
                </a:lnTo>
                <a:lnTo>
                  <a:pt x="93661" y="27431"/>
                </a:lnTo>
                <a:lnTo>
                  <a:pt x="88010" y="16382"/>
                </a:lnTo>
                <a:lnTo>
                  <a:pt x="80899" y="9397"/>
                </a:lnTo>
                <a:lnTo>
                  <a:pt x="70992" y="3937"/>
                </a:lnTo>
                <a:lnTo>
                  <a:pt x="51180" y="0"/>
                </a:lnTo>
                <a:close/>
              </a:path>
            </a:pathLst>
          </a:custGeom>
          <a:solidFill>
            <a:srgbClr val="D9D9D9"/>
          </a:solidFill>
        </p:spPr>
        <p:txBody>
          <a:bodyPr wrap="square" lIns="0" tIns="0" rIns="0" bIns="0" rtlCol="0"/>
          <a:lstStyle/>
          <a:p>
            <a:endParaRPr/>
          </a:p>
        </p:txBody>
      </p:sp>
      <p:sp>
        <p:nvSpPr>
          <p:cNvPr id="94" name="object 94"/>
          <p:cNvSpPr/>
          <p:nvPr/>
        </p:nvSpPr>
        <p:spPr>
          <a:xfrm>
            <a:off x="9067293" y="3164332"/>
            <a:ext cx="100965" cy="101600"/>
          </a:xfrm>
          <a:custGeom>
            <a:avLst/>
            <a:gdLst/>
            <a:ahLst/>
            <a:cxnLst/>
            <a:rect l="l" t="t" r="r" b="b"/>
            <a:pathLst>
              <a:path w="100965" h="101600">
                <a:moveTo>
                  <a:pt x="51180" y="0"/>
                </a:moveTo>
                <a:lnTo>
                  <a:pt x="5206" y="27431"/>
                </a:lnTo>
                <a:lnTo>
                  <a:pt x="2666" y="42925"/>
                </a:lnTo>
                <a:lnTo>
                  <a:pt x="0" y="58419"/>
                </a:lnTo>
                <a:lnTo>
                  <a:pt x="30099" y="96012"/>
                </a:lnTo>
                <a:lnTo>
                  <a:pt x="47116" y="101345"/>
                </a:lnTo>
                <a:lnTo>
                  <a:pt x="66675" y="98170"/>
                </a:lnTo>
                <a:lnTo>
                  <a:pt x="86232" y="88137"/>
                </a:lnTo>
                <a:lnTo>
                  <a:pt x="93151" y="73787"/>
                </a:lnTo>
                <a:lnTo>
                  <a:pt x="99822" y="59816"/>
                </a:lnTo>
                <a:lnTo>
                  <a:pt x="100964" y="41528"/>
                </a:lnTo>
                <a:lnTo>
                  <a:pt x="93661" y="27431"/>
                </a:lnTo>
                <a:lnTo>
                  <a:pt x="88010" y="16382"/>
                </a:lnTo>
                <a:lnTo>
                  <a:pt x="80899" y="9397"/>
                </a:lnTo>
                <a:lnTo>
                  <a:pt x="70992" y="3937"/>
                </a:lnTo>
                <a:lnTo>
                  <a:pt x="51180" y="0"/>
                </a:lnTo>
                <a:close/>
              </a:path>
            </a:pathLst>
          </a:custGeom>
          <a:solidFill>
            <a:srgbClr val="D9D9D9"/>
          </a:solidFill>
        </p:spPr>
        <p:txBody>
          <a:bodyPr wrap="square" lIns="0" tIns="0" rIns="0" bIns="0" rtlCol="0"/>
          <a:lstStyle/>
          <a:p>
            <a:endParaRPr/>
          </a:p>
        </p:txBody>
      </p:sp>
      <p:sp>
        <p:nvSpPr>
          <p:cNvPr id="95" name="object 95"/>
          <p:cNvSpPr/>
          <p:nvPr/>
        </p:nvSpPr>
        <p:spPr>
          <a:xfrm>
            <a:off x="9083548" y="3427095"/>
            <a:ext cx="88900" cy="91440"/>
          </a:xfrm>
          <a:custGeom>
            <a:avLst/>
            <a:gdLst/>
            <a:ahLst/>
            <a:cxnLst/>
            <a:rect l="l" t="t" r="r" b="b"/>
            <a:pathLst>
              <a:path w="88900" h="91439">
                <a:moveTo>
                  <a:pt x="47244" y="0"/>
                </a:moveTo>
                <a:lnTo>
                  <a:pt x="30479" y="1650"/>
                </a:lnTo>
                <a:lnTo>
                  <a:pt x="15112" y="13080"/>
                </a:lnTo>
                <a:lnTo>
                  <a:pt x="6857" y="24510"/>
                </a:lnTo>
                <a:lnTo>
                  <a:pt x="0" y="38607"/>
                </a:lnTo>
                <a:lnTo>
                  <a:pt x="253" y="52704"/>
                </a:lnTo>
                <a:lnTo>
                  <a:pt x="4699" y="68071"/>
                </a:lnTo>
                <a:lnTo>
                  <a:pt x="26034" y="88900"/>
                </a:lnTo>
                <a:lnTo>
                  <a:pt x="41655" y="91439"/>
                </a:lnTo>
                <a:lnTo>
                  <a:pt x="61213" y="88391"/>
                </a:lnTo>
                <a:lnTo>
                  <a:pt x="75183" y="81152"/>
                </a:lnTo>
                <a:lnTo>
                  <a:pt x="86232" y="68325"/>
                </a:lnTo>
                <a:lnTo>
                  <a:pt x="88773" y="52831"/>
                </a:lnTo>
                <a:lnTo>
                  <a:pt x="88646" y="38734"/>
                </a:lnTo>
                <a:lnTo>
                  <a:pt x="85598" y="26162"/>
                </a:lnTo>
                <a:lnTo>
                  <a:pt x="79882" y="14985"/>
                </a:lnTo>
                <a:lnTo>
                  <a:pt x="64261" y="5333"/>
                </a:lnTo>
                <a:lnTo>
                  <a:pt x="47244" y="0"/>
                </a:lnTo>
                <a:close/>
              </a:path>
            </a:pathLst>
          </a:custGeom>
          <a:solidFill>
            <a:srgbClr val="D9D9D9"/>
          </a:solidFill>
        </p:spPr>
        <p:txBody>
          <a:bodyPr wrap="square" lIns="0" tIns="0" rIns="0" bIns="0" rtlCol="0"/>
          <a:lstStyle/>
          <a:p>
            <a:endParaRPr/>
          </a:p>
        </p:txBody>
      </p:sp>
      <p:sp>
        <p:nvSpPr>
          <p:cNvPr id="96" name="object 96"/>
          <p:cNvSpPr/>
          <p:nvPr/>
        </p:nvSpPr>
        <p:spPr>
          <a:xfrm>
            <a:off x="9083548" y="3427095"/>
            <a:ext cx="88900" cy="91440"/>
          </a:xfrm>
          <a:custGeom>
            <a:avLst/>
            <a:gdLst/>
            <a:ahLst/>
            <a:cxnLst/>
            <a:rect l="l" t="t" r="r" b="b"/>
            <a:pathLst>
              <a:path w="88900" h="91439">
                <a:moveTo>
                  <a:pt x="47244" y="0"/>
                </a:moveTo>
                <a:lnTo>
                  <a:pt x="30479" y="1650"/>
                </a:lnTo>
                <a:lnTo>
                  <a:pt x="15112" y="13080"/>
                </a:lnTo>
                <a:lnTo>
                  <a:pt x="6857" y="24510"/>
                </a:lnTo>
                <a:lnTo>
                  <a:pt x="0" y="38607"/>
                </a:lnTo>
                <a:lnTo>
                  <a:pt x="253" y="52704"/>
                </a:lnTo>
                <a:lnTo>
                  <a:pt x="4699" y="68071"/>
                </a:lnTo>
                <a:lnTo>
                  <a:pt x="26034" y="88900"/>
                </a:lnTo>
                <a:lnTo>
                  <a:pt x="41655" y="91439"/>
                </a:lnTo>
                <a:lnTo>
                  <a:pt x="61213" y="88391"/>
                </a:lnTo>
                <a:lnTo>
                  <a:pt x="75183" y="81152"/>
                </a:lnTo>
                <a:lnTo>
                  <a:pt x="86232" y="68325"/>
                </a:lnTo>
                <a:lnTo>
                  <a:pt x="88773" y="52831"/>
                </a:lnTo>
                <a:lnTo>
                  <a:pt x="88646" y="38734"/>
                </a:lnTo>
                <a:lnTo>
                  <a:pt x="85598" y="26162"/>
                </a:lnTo>
                <a:lnTo>
                  <a:pt x="79882" y="14985"/>
                </a:lnTo>
                <a:lnTo>
                  <a:pt x="64261" y="5333"/>
                </a:lnTo>
                <a:lnTo>
                  <a:pt x="47244" y="0"/>
                </a:lnTo>
                <a:close/>
              </a:path>
            </a:pathLst>
          </a:custGeom>
          <a:solidFill>
            <a:srgbClr val="D9D9D9"/>
          </a:solidFill>
        </p:spPr>
        <p:txBody>
          <a:bodyPr wrap="square" lIns="0" tIns="0" rIns="0" bIns="0" rtlCol="0"/>
          <a:lstStyle/>
          <a:p>
            <a:endParaRPr/>
          </a:p>
        </p:txBody>
      </p:sp>
      <p:sp>
        <p:nvSpPr>
          <p:cNvPr id="97" name="object 97"/>
          <p:cNvSpPr/>
          <p:nvPr/>
        </p:nvSpPr>
        <p:spPr>
          <a:xfrm>
            <a:off x="9053704" y="3689097"/>
            <a:ext cx="81914" cy="80645"/>
          </a:xfrm>
          <a:custGeom>
            <a:avLst/>
            <a:gdLst/>
            <a:ahLst/>
            <a:cxnLst/>
            <a:rect l="l" t="t" r="r" b="b"/>
            <a:pathLst>
              <a:path w="81915" h="80645">
                <a:moveTo>
                  <a:pt x="43052" y="0"/>
                </a:moveTo>
                <a:lnTo>
                  <a:pt x="26162" y="1650"/>
                </a:lnTo>
                <a:lnTo>
                  <a:pt x="13716" y="11683"/>
                </a:lnTo>
                <a:lnTo>
                  <a:pt x="3937" y="20192"/>
                </a:lnTo>
                <a:lnTo>
                  <a:pt x="0" y="32892"/>
                </a:lnTo>
                <a:lnTo>
                  <a:pt x="126" y="46989"/>
                </a:lnTo>
                <a:lnTo>
                  <a:pt x="5969" y="58165"/>
                </a:lnTo>
                <a:lnTo>
                  <a:pt x="10287" y="66547"/>
                </a:lnTo>
                <a:lnTo>
                  <a:pt x="23114" y="77596"/>
                </a:lnTo>
                <a:lnTo>
                  <a:pt x="38607" y="80136"/>
                </a:lnTo>
                <a:lnTo>
                  <a:pt x="55499" y="78485"/>
                </a:lnTo>
                <a:lnTo>
                  <a:pt x="67945" y="68452"/>
                </a:lnTo>
                <a:lnTo>
                  <a:pt x="77724" y="59943"/>
                </a:lnTo>
                <a:lnTo>
                  <a:pt x="81661" y="47116"/>
                </a:lnTo>
                <a:lnTo>
                  <a:pt x="81533" y="33146"/>
                </a:lnTo>
                <a:lnTo>
                  <a:pt x="75692" y="21970"/>
                </a:lnTo>
                <a:lnTo>
                  <a:pt x="71374" y="13588"/>
                </a:lnTo>
                <a:lnTo>
                  <a:pt x="58547" y="2539"/>
                </a:lnTo>
                <a:lnTo>
                  <a:pt x="43052" y="0"/>
                </a:lnTo>
                <a:close/>
              </a:path>
            </a:pathLst>
          </a:custGeom>
          <a:solidFill>
            <a:srgbClr val="D9D9D9"/>
          </a:solidFill>
        </p:spPr>
        <p:txBody>
          <a:bodyPr wrap="square" lIns="0" tIns="0" rIns="0" bIns="0" rtlCol="0"/>
          <a:lstStyle/>
          <a:p>
            <a:endParaRPr/>
          </a:p>
        </p:txBody>
      </p:sp>
      <p:sp>
        <p:nvSpPr>
          <p:cNvPr id="98" name="object 98"/>
          <p:cNvSpPr/>
          <p:nvPr/>
        </p:nvSpPr>
        <p:spPr>
          <a:xfrm>
            <a:off x="9053704" y="3689097"/>
            <a:ext cx="81914" cy="80645"/>
          </a:xfrm>
          <a:custGeom>
            <a:avLst/>
            <a:gdLst/>
            <a:ahLst/>
            <a:cxnLst/>
            <a:rect l="l" t="t" r="r" b="b"/>
            <a:pathLst>
              <a:path w="81915" h="80645">
                <a:moveTo>
                  <a:pt x="43052" y="0"/>
                </a:moveTo>
                <a:lnTo>
                  <a:pt x="26162" y="1650"/>
                </a:lnTo>
                <a:lnTo>
                  <a:pt x="13716" y="11683"/>
                </a:lnTo>
                <a:lnTo>
                  <a:pt x="3937" y="20192"/>
                </a:lnTo>
                <a:lnTo>
                  <a:pt x="0" y="32892"/>
                </a:lnTo>
                <a:lnTo>
                  <a:pt x="126" y="46989"/>
                </a:lnTo>
                <a:lnTo>
                  <a:pt x="5969" y="58165"/>
                </a:lnTo>
                <a:lnTo>
                  <a:pt x="10287" y="66547"/>
                </a:lnTo>
                <a:lnTo>
                  <a:pt x="23114" y="77596"/>
                </a:lnTo>
                <a:lnTo>
                  <a:pt x="38607" y="80136"/>
                </a:lnTo>
                <a:lnTo>
                  <a:pt x="55499" y="78485"/>
                </a:lnTo>
                <a:lnTo>
                  <a:pt x="67945" y="68452"/>
                </a:lnTo>
                <a:lnTo>
                  <a:pt x="77724" y="59943"/>
                </a:lnTo>
                <a:lnTo>
                  <a:pt x="81661" y="47116"/>
                </a:lnTo>
                <a:lnTo>
                  <a:pt x="81533" y="33146"/>
                </a:lnTo>
                <a:lnTo>
                  <a:pt x="75692" y="21970"/>
                </a:lnTo>
                <a:lnTo>
                  <a:pt x="71374" y="13588"/>
                </a:lnTo>
                <a:lnTo>
                  <a:pt x="58547" y="2539"/>
                </a:lnTo>
                <a:lnTo>
                  <a:pt x="43052" y="0"/>
                </a:lnTo>
                <a:close/>
              </a:path>
            </a:pathLst>
          </a:custGeom>
          <a:solidFill>
            <a:srgbClr val="D9D9D9"/>
          </a:solidFill>
        </p:spPr>
        <p:txBody>
          <a:bodyPr wrap="square" lIns="0" tIns="0" rIns="0" bIns="0" rtlCol="0"/>
          <a:lstStyle/>
          <a:p>
            <a:endParaRPr/>
          </a:p>
        </p:txBody>
      </p:sp>
      <p:sp>
        <p:nvSpPr>
          <p:cNvPr id="99" name="object 99"/>
          <p:cNvSpPr/>
          <p:nvPr/>
        </p:nvSpPr>
        <p:spPr>
          <a:xfrm>
            <a:off x="8978773" y="3939033"/>
            <a:ext cx="74931" cy="71755"/>
          </a:xfrm>
          <a:custGeom>
            <a:avLst/>
            <a:gdLst/>
            <a:ahLst/>
            <a:cxnLst/>
            <a:rect l="l" t="t" r="r" b="b"/>
            <a:pathLst>
              <a:path w="74929" h="71754">
                <a:moveTo>
                  <a:pt x="38734" y="0"/>
                </a:moveTo>
                <a:lnTo>
                  <a:pt x="1270" y="30099"/>
                </a:lnTo>
                <a:lnTo>
                  <a:pt x="0" y="41402"/>
                </a:lnTo>
                <a:lnTo>
                  <a:pt x="5842" y="52451"/>
                </a:lnTo>
                <a:lnTo>
                  <a:pt x="10159" y="60833"/>
                </a:lnTo>
                <a:lnTo>
                  <a:pt x="21462" y="69088"/>
                </a:lnTo>
                <a:lnTo>
                  <a:pt x="36956" y="71755"/>
                </a:lnTo>
                <a:lnTo>
                  <a:pt x="51053" y="71501"/>
                </a:lnTo>
                <a:lnTo>
                  <a:pt x="60832" y="62992"/>
                </a:lnTo>
                <a:lnTo>
                  <a:pt x="70484" y="54356"/>
                </a:lnTo>
                <a:lnTo>
                  <a:pt x="74549" y="41656"/>
                </a:lnTo>
                <a:lnTo>
                  <a:pt x="72898" y="31877"/>
                </a:lnTo>
                <a:lnTo>
                  <a:pt x="69976" y="19177"/>
                </a:lnTo>
                <a:lnTo>
                  <a:pt x="65658" y="10795"/>
                </a:lnTo>
                <a:lnTo>
                  <a:pt x="54228" y="2540"/>
                </a:lnTo>
                <a:lnTo>
                  <a:pt x="38734" y="0"/>
                </a:lnTo>
                <a:close/>
              </a:path>
            </a:pathLst>
          </a:custGeom>
          <a:solidFill>
            <a:srgbClr val="D9D9D9"/>
          </a:solidFill>
        </p:spPr>
        <p:txBody>
          <a:bodyPr wrap="square" lIns="0" tIns="0" rIns="0" bIns="0" rtlCol="0"/>
          <a:lstStyle/>
          <a:p>
            <a:endParaRPr/>
          </a:p>
        </p:txBody>
      </p:sp>
      <p:sp>
        <p:nvSpPr>
          <p:cNvPr id="100" name="object 100"/>
          <p:cNvSpPr/>
          <p:nvPr/>
        </p:nvSpPr>
        <p:spPr>
          <a:xfrm>
            <a:off x="8978773" y="3939033"/>
            <a:ext cx="74931" cy="71755"/>
          </a:xfrm>
          <a:custGeom>
            <a:avLst/>
            <a:gdLst/>
            <a:ahLst/>
            <a:cxnLst/>
            <a:rect l="l" t="t" r="r" b="b"/>
            <a:pathLst>
              <a:path w="74929" h="71754">
                <a:moveTo>
                  <a:pt x="38734" y="0"/>
                </a:moveTo>
                <a:lnTo>
                  <a:pt x="1270" y="30099"/>
                </a:lnTo>
                <a:lnTo>
                  <a:pt x="0" y="41402"/>
                </a:lnTo>
                <a:lnTo>
                  <a:pt x="5842" y="52451"/>
                </a:lnTo>
                <a:lnTo>
                  <a:pt x="10159" y="60833"/>
                </a:lnTo>
                <a:lnTo>
                  <a:pt x="21462" y="69088"/>
                </a:lnTo>
                <a:lnTo>
                  <a:pt x="36956" y="71755"/>
                </a:lnTo>
                <a:lnTo>
                  <a:pt x="51053" y="71501"/>
                </a:lnTo>
                <a:lnTo>
                  <a:pt x="60832" y="62992"/>
                </a:lnTo>
                <a:lnTo>
                  <a:pt x="70484" y="54356"/>
                </a:lnTo>
                <a:lnTo>
                  <a:pt x="74549" y="41656"/>
                </a:lnTo>
                <a:lnTo>
                  <a:pt x="72898" y="31877"/>
                </a:lnTo>
                <a:lnTo>
                  <a:pt x="69976" y="19177"/>
                </a:lnTo>
                <a:lnTo>
                  <a:pt x="65658" y="10795"/>
                </a:lnTo>
                <a:lnTo>
                  <a:pt x="54228" y="2540"/>
                </a:lnTo>
                <a:lnTo>
                  <a:pt x="38734" y="0"/>
                </a:lnTo>
                <a:close/>
              </a:path>
            </a:pathLst>
          </a:custGeom>
          <a:solidFill>
            <a:srgbClr val="D9D9D9"/>
          </a:solidFill>
        </p:spPr>
        <p:txBody>
          <a:bodyPr wrap="square" lIns="0" tIns="0" rIns="0" bIns="0" rtlCol="0"/>
          <a:lstStyle/>
          <a:p>
            <a:endParaRPr/>
          </a:p>
        </p:txBody>
      </p:sp>
      <p:sp>
        <p:nvSpPr>
          <p:cNvPr id="101" name="object 101"/>
          <p:cNvSpPr/>
          <p:nvPr/>
        </p:nvSpPr>
        <p:spPr>
          <a:xfrm>
            <a:off x="8864092" y="4171316"/>
            <a:ext cx="66040" cy="64769"/>
          </a:xfrm>
          <a:custGeom>
            <a:avLst/>
            <a:gdLst/>
            <a:ahLst/>
            <a:cxnLst/>
            <a:rect l="l" t="t" r="r" b="b"/>
            <a:pathLst>
              <a:path w="66040" h="64770">
                <a:moveTo>
                  <a:pt x="33147" y="0"/>
                </a:moveTo>
                <a:lnTo>
                  <a:pt x="1269" y="27178"/>
                </a:lnTo>
                <a:lnTo>
                  <a:pt x="0" y="38481"/>
                </a:lnTo>
                <a:lnTo>
                  <a:pt x="8635" y="55245"/>
                </a:lnTo>
                <a:lnTo>
                  <a:pt x="20065" y="63500"/>
                </a:lnTo>
                <a:lnTo>
                  <a:pt x="31368" y="64770"/>
                </a:lnTo>
                <a:lnTo>
                  <a:pt x="45338" y="64516"/>
                </a:lnTo>
                <a:lnTo>
                  <a:pt x="55117" y="56007"/>
                </a:lnTo>
                <a:lnTo>
                  <a:pt x="61975" y="48768"/>
                </a:lnTo>
                <a:lnTo>
                  <a:pt x="64642" y="40386"/>
                </a:lnTo>
                <a:lnTo>
                  <a:pt x="65912" y="29083"/>
                </a:lnTo>
                <a:lnTo>
                  <a:pt x="62991" y="16510"/>
                </a:lnTo>
                <a:lnTo>
                  <a:pt x="57276" y="12318"/>
                </a:lnTo>
                <a:lnTo>
                  <a:pt x="45847" y="4064"/>
                </a:lnTo>
                <a:lnTo>
                  <a:pt x="33147" y="0"/>
                </a:lnTo>
                <a:close/>
              </a:path>
            </a:pathLst>
          </a:custGeom>
          <a:solidFill>
            <a:srgbClr val="D9D9D9"/>
          </a:solidFill>
        </p:spPr>
        <p:txBody>
          <a:bodyPr wrap="square" lIns="0" tIns="0" rIns="0" bIns="0" rtlCol="0"/>
          <a:lstStyle/>
          <a:p>
            <a:endParaRPr/>
          </a:p>
        </p:txBody>
      </p:sp>
      <p:sp>
        <p:nvSpPr>
          <p:cNvPr id="102" name="object 102"/>
          <p:cNvSpPr/>
          <p:nvPr/>
        </p:nvSpPr>
        <p:spPr>
          <a:xfrm>
            <a:off x="8864092" y="4171316"/>
            <a:ext cx="66040" cy="64769"/>
          </a:xfrm>
          <a:custGeom>
            <a:avLst/>
            <a:gdLst/>
            <a:ahLst/>
            <a:cxnLst/>
            <a:rect l="l" t="t" r="r" b="b"/>
            <a:pathLst>
              <a:path w="66040" h="64770">
                <a:moveTo>
                  <a:pt x="33147" y="0"/>
                </a:moveTo>
                <a:lnTo>
                  <a:pt x="1269" y="27178"/>
                </a:lnTo>
                <a:lnTo>
                  <a:pt x="0" y="38481"/>
                </a:lnTo>
                <a:lnTo>
                  <a:pt x="8635" y="55245"/>
                </a:lnTo>
                <a:lnTo>
                  <a:pt x="20065" y="63500"/>
                </a:lnTo>
                <a:lnTo>
                  <a:pt x="31368" y="64770"/>
                </a:lnTo>
                <a:lnTo>
                  <a:pt x="45338" y="64516"/>
                </a:lnTo>
                <a:lnTo>
                  <a:pt x="55117" y="56007"/>
                </a:lnTo>
                <a:lnTo>
                  <a:pt x="61975" y="48768"/>
                </a:lnTo>
                <a:lnTo>
                  <a:pt x="64642" y="40386"/>
                </a:lnTo>
                <a:lnTo>
                  <a:pt x="65912" y="29083"/>
                </a:lnTo>
                <a:lnTo>
                  <a:pt x="62991" y="16510"/>
                </a:lnTo>
                <a:lnTo>
                  <a:pt x="57276" y="12318"/>
                </a:lnTo>
                <a:lnTo>
                  <a:pt x="45847" y="4064"/>
                </a:lnTo>
                <a:lnTo>
                  <a:pt x="33147" y="0"/>
                </a:lnTo>
                <a:close/>
              </a:path>
            </a:pathLst>
          </a:custGeom>
          <a:solidFill>
            <a:srgbClr val="D9D9D9"/>
          </a:solidFill>
        </p:spPr>
        <p:txBody>
          <a:bodyPr wrap="square" lIns="0" tIns="0" rIns="0" bIns="0" rtlCol="0"/>
          <a:lstStyle/>
          <a:p>
            <a:endParaRPr/>
          </a:p>
        </p:txBody>
      </p:sp>
      <p:sp>
        <p:nvSpPr>
          <p:cNvPr id="103" name="object 103"/>
          <p:cNvSpPr/>
          <p:nvPr/>
        </p:nvSpPr>
        <p:spPr>
          <a:xfrm>
            <a:off x="8709533" y="4380358"/>
            <a:ext cx="60960" cy="57785"/>
          </a:xfrm>
          <a:custGeom>
            <a:avLst/>
            <a:gdLst/>
            <a:ahLst/>
            <a:cxnLst/>
            <a:rect l="l" t="t" r="r" b="b"/>
            <a:pathLst>
              <a:path w="60959" h="57785">
                <a:moveTo>
                  <a:pt x="30607" y="0"/>
                </a:moveTo>
                <a:lnTo>
                  <a:pt x="20827" y="1524"/>
                </a:lnTo>
                <a:lnTo>
                  <a:pt x="9651" y="7366"/>
                </a:lnTo>
                <a:lnTo>
                  <a:pt x="2667" y="14478"/>
                </a:lnTo>
                <a:lnTo>
                  <a:pt x="0" y="22987"/>
                </a:lnTo>
                <a:lnTo>
                  <a:pt x="3048" y="42545"/>
                </a:lnTo>
                <a:lnTo>
                  <a:pt x="8763" y="46736"/>
                </a:lnTo>
                <a:lnTo>
                  <a:pt x="17399" y="56388"/>
                </a:lnTo>
                <a:lnTo>
                  <a:pt x="56515" y="43180"/>
                </a:lnTo>
                <a:lnTo>
                  <a:pt x="60451" y="23495"/>
                </a:lnTo>
                <a:lnTo>
                  <a:pt x="56134" y="15113"/>
                </a:lnTo>
                <a:lnTo>
                  <a:pt x="53213" y="9525"/>
                </a:lnTo>
                <a:lnTo>
                  <a:pt x="41783" y="1270"/>
                </a:lnTo>
                <a:lnTo>
                  <a:pt x="30607" y="0"/>
                </a:lnTo>
                <a:close/>
              </a:path>
            </a:pathLst>
          </a:custGeom>
          <a:solidFill>
            <a:srgbClr val="D9D9D9"/>
          </a:solidFill>
        </p:spPr>
        <p:txBody>
          <a:bodyPr wrap="square" lIns="0" tIns="0" rIns="0" bIns="0" rtlCol="0"/>
          <a:lstStyle/>
          <a:p>
            <a:endParaRPr/>
          </a:p>
        </p:txBody>
      </p:sp>
      <p:sp>
        <p:nvSpPr>
          <p:cNvPr id="104" name="object 104"/>
          <p:cNvSpPr/>
          <p:nvPr/>
        </p:nvSpPr>
        <p:spPr>
          <a:xfrm>
            <a:off x="8709533" y="4380358"/>
            <a:ext cx="60960" cy="57785"/>
          </a:xfrm>
          <a:custGeom>
            <a:avLst/>
            <a:gdLst/>
            <a:ahLst/>
            <a:cxnLst/>
            <a:rect l="l" t="t" r="r" b="b"/>
            <a:pathLst>
              <a:path w="60959" h="57785">
                <a:moveTo>
                  <a:pt x="30607" y="0"/>
                </a:moveTo>
                <a:lnTo>
                  <a:pt x="20827" y="1524"/>
                </a:lnTo>
                <a:lnTo>
                  <a:pt x="9651" y="7366"/>
                </a:lnTo>
                <a:lnTo>
                  <a:pt x="2667" y="14478"/>
                </a:lnTo>
                <a:lnTo>
                  <a:pt x="0" y="22987"/>
                </a:lnTo>
                <a:lnTo>
                  <a:pt x="3048" y="42545"/>
                </a:lnTo>
                <a:lnTo>
                  <a:pt x="8763" y="46736"/>
                </a:lnTo>
                <a:lnTo>
                  <a:pt x="17399" y="56388"/>
                </a:lnTo>
                <a:lnTo>
                  <a:pt x="56515" y="43180"/>
                </a:lnTo>
                <a:lnTo>
                  <a:pt x="60451" y="23495"/>
                </a:lnTo>
                <a:lnTo>
                  <a:pt x="56134" y="15113"/>
                </a:lnTo>
                <a:lnTo>
                  <a:pt x="53213" y="9525"/>
                </a:lnTo>
                <a:lnTo>
                  <a:pt x="41783" y="1270"/>
                </a:lnTo>
                <a:lnTo>
                  <a:pt x="30607" y="0"/>
                </a:lnTo>
                <a:close/>
              </a:path>
            </a:pathLst>
          </a:custGeom>
          <a:solidFill>
            <a:srgbClr val="D9D9D9"/>
          </a:solidFill>
        </p:spPr>
        <p:txBody>
          <a:bodyPr wrap="square" lIns="0" tIns="0" rIns="0" bIns="0" rtlCol="0"/>
          <a:lstStyle/>
          <a:p>
            <a:endParaRPr/>
          </a:p>
        </p:txBody>
      </p:sp>
      <p:sp>
        <p:nvSpPr>
          <p:cNvPr id="105" name="object 105"/>
          <p:cNvSpPr/>
          <p:nvPr/>
        </p:nvSpPr>
        <p:spPr>
          <a:xfrm>
            <a:off x="8522462" y="4555998"/>
            <a:ext cx="52069" cy="55244"/>
          </a:xfrm>
          <a:custGeom>
            <a:avLst/>
            <a:gdLst/>
            <a:ahLst/>
            <a:cxnLst/>
            <a:rect l="l" t="t" r="r" b="b"/>
            <a:pathLst>
              <a:path w="52070" h="55245">
                <a:moveTo>
                  <a:pt x="29083" y="0"/>
                </a:moveTo>
                <a:lnTo>
                  <a:pt x="16510" y="3047"/>
                </a:lnTo>
                <a:lnTo>
                  <a:pt x="8128" y="7365"/>
                </a:lnTo>
                <a:lnTo>
                  <a:pt x="1143" y="14477"/>
                </a:lnTo>
                <a:lnTo>
                  <a:pt x="1270" y="21589"/>
                </a:lnTo>
                <a:lnTo>
                  <a:pt x="0" y="32765"/>
                </a:lnTo>
                <a:lnTo>
                  <a:pt x="5842" y="43941"/>
                </a:lnTo>
                <a:lnTo>
                  <a:pt x="25654" y="54863"/>
                </a:lnTo>
                <a:lnTo>
                  <a:pt x="35433" y="53339"/>
                </a:lnTo>
                <a:lnTo>
                  <a:pt x="49403" y="39115"/>
                </a:lnTo>
                <a:lnTo>
                  <a:pt x="52070" y="30606"/>
                </a:lnTo>
                <a:lnTo>
                  <a:pt x="51943" y="23621"/>
                </a:lnTo>
                <a:lnTo>
                  <a:pt x="50419" y="13843"/>
                </a:lnTo>
                <a:lnTo>
                  <a:pt x="44704" y="9651"/>
                </a:lnTo>
                <a:lnTo>
                  <a:pt x="37592" y="2793"/>
                </a:lnTo>
                <a:lnTo>
                  <a:pt x="29083" y="0"/>
                </a:lnTo>
                <a:close/>
              </a:path>
            </a:pathLst>
          </a:custGeom>
          <a:solidFill>
            <a:srgbClr val="D9D9D9"/>
          </a:solidFill>
        </p:spPr>
        <p:txBody>
          <a:bodyPr wrap="square" lIns="0" tIns="0" rIns="0" bIns="0" rtlCol="0"/>
          <a:lstStyle/>
          <a:p>
            <a:endParaRPr/>
          </a:p>
        </p:txBody>
      </p:sp>
      <p:sp>
        <p:nvSpPr>
          <p:cNvPr id="106" name="object 106"/>
          <p:cNvSpPr/>
          <p:nvPr/>
        </p:nvSpPr>
        <p:spPr>
          <a:xfrm>
            <a:off x="8522462" y="4555998"/>
            <a:ext cx="52069" cy="55244"/>
          </a:xfrm>
          <a:custGeom>
            <a:avLst/>
            <a:gdLst/>
            <a:ahLst/>
            <a:cxnLst/>
            <a:rect l="l" t="t" r="r" b="b"/>
            <a:pathLst>
              <a:path w="52070" h="55245">
                <a:moveTo>
                  <a:pt x="29083" y="0"/>
                </a:moveTo>
                <a:lnTo>
                  <a:pt x="16510" y="3047"/>
                </a:lnTo>
                <a:lnTo>
                  <a:pt x="8128" y="7365"/>
                </a:lnTo>
                <a:lnTo>
                  <a:pt x="1143" y="14477"/>
                </a:lnTo>
                <a:lnTo>
                  <a:pt x="1270" y="21589"/>
                </a:lnTo>
                <a:lnTo>
                  <a:pt x="0" y="32765"/>
                </a:lnTo>
                <a:lnTo>
                  <a:pt x="5842" y="43941"/>
                </a:lnTo>
                <a:lnTo>
                  <a:pt x="25654" y="54863"/>
                </a:lnTo>
                <a:lnTo>
                  <a:pt x="35433" y="53339"/>
                </a:lnTo>
                <a:lnTo>
                  <a:pt x="49403" y="39115"/>
                </a:lnTo>
                <a:lnTo>
                  <a:pt x="52070" y="30606"/>
                </a:lnTo>
                <a:lnTo>
                  <a:pt x="51943" y="23621"/>
                </a:lnTo>
                <a:lnTo>
                  <a:pt x="50419" y="13843"/>
                </a:lnTo>
                <a:lnTo>
                  <a:pt x="44704" y="9651"/>
                </a:lnTo>
                <a:lnTo>
                  <a:pt x="37592" y="2793"/>
                </a:lnTo>
                <a:lnTo>
                  <a:pt x="29083" y="0"/>
                </a:lnTo>
                <a:close/>
              </a:path>
            </a:pathLst>
          </a:custGeom>
          <a:solidFill>
            <a:srgbClr val="D9D9D9"/>
          </a:solidFill>
        </p:spPr>
        <p:txBody>
          <a:bodyPr wrap="square" lIns="0" tIns="0" rIns="0" bIns="0" rtlCol="0"/>
          <a:lstStyle/>
          <a:p>
            <a:endParaRPr/>
          </a:p>
        </p:txBody>
      </p:sp>
      <p:sp>
        <p:nvSpPr>
          <p:cNvPr id="107" name="object 107"/>
          <p:cNvSpPr/>
          <p:nvPr/>
        </p:nvSpPr>
        <p:spPr>
          <a:xfrm>
            <a:off x="8584183" y="2246503"/>
            <a:ext cx="135255" cy="139065"/>
          </a:xfrm>
          <a:custGeom>
            <a:avLst/>
            <a:gdLst/>
            <a:ahLst/>
            <a:cxnLst/>
            <a:rect l="l" t="t" r="r" b="b"/>
            <a:pathLst>
              <a:path w="135254" h="139064">
                <a:moveTo>
                  <a:pt x="58166" y="0"/>
                </a:moveTo>
                <a:lnTo>
                  <a:pt x="42799" y="4445"/>
                </a:lnTo>
                <a:lnTo>
                  <a:pt x="31623" y="10160"/>
                </a:lnTo>
                <a:lnTo>
                  <a:pt x="21971" y="18796"/>
                </a:lnTo>
                <a:lnTo>
                  <a:pt x="12192" y="27432"/>
                </a:lnTo>
                <a:lnTo>
                  <a:pt x="6731" y="37337"/>
                </a:lnTo>
                <a:lnTo>
                  <a:pt x="0" y="58420"/>
                </a:lnTo>
                <a:lnTo>
                  <a:pt x="381" y="79501"/>
                </a:lnTo>
                <a:lnTo>
                  <a:pt x="27686" y="125602"/>
                </a:lnTo>
                <a:lnTo>
                  <a:pt x="50419" y="135000"/>
                </a:lnTo>
                <a:lnTo>
                  <a:pt x="63119" y="139064"/>
                </a:lnTo>
                <a:lnTo>
                  <a:pt x="75692" y="136017"/>
                </a:lnTo>
                <a:lnTo>
                  <a:pt x="88265" y="133096"/>
                </a:lnTo>
                <a:lnTo>
                  <a:pt x="103632" y="128650"/>
                </a:lnTo>
                <a:lnTo>
                  <a:pt x="123063" y="111506"/>
                </a:lnTo>
                <a:lnTo>
                  <a:pt x="128524" y="101600"/>
                </a:lnTo>
                <a:lnTo>
                  <a:pt x="135255" y="80391"/>
                </a:lnTo>
                <a:lnTo>
                  <a:pt x="135000" y="59309"/>
                </a:lnTo>
                <a:lnTo>
                  <a:pt x="127635" y="38354"/>
                </a:lnTo>
                <a:lnTo>
                  <a:pt x="118999" y="21589"/>
                </a:lnTo>
                <a:lnTo>
                  <a:pt x="96266" y="5080"/>
                </a:lnTo>
                <a:lnTo>
                  <a:pt x="84359" y="1270"/>
                </a:lnTo>
                <a:lnTo>
                  <a:pt x="69469" y="1270"/>
                </a:lnTo>
                <a:lnTo>
                  <a:pt x="58166" y="0"/>
                </a:lnTo>
                <a:close/>
              </a:path>
              <a:path w="135254" h="139064">
                <a:moveTo>
                  <a:pt x="83566" y="1016"/>
                </a:moveTo>
                <a:lnTo>
                  <a:pt x="69469" y="1270"/>
                </a:lnTo>
                <a:lnTo>
                  <a:pt x="84359" y="1270"/>
                </a:lnTo>
                <a:lnTo>
                  <a:pt x="83566" y="1016"/>
                </a:lnTo>
                <a:close/>
              </a:path>
            </a:pathLst>
          </a:custGeom>
          <a:solidFill>
            <a:srgbClr val="D9D9D9"/>
          </a:solidFill>
        </p:spPr>
        <p:txBody>
          <a:bodyPr wrap="square" lIns="0" tIns="0" rIns="0" bIns="0" rtlCol="0"/>
          <a:lstStyle/>
          <a:p>
            <a:endParaRPr/>
          </a:p>
        </p:txBody>
      </p:sp>
      <p:sp>
        <p:nvSpPr>
          <p:cNvPr id="108" name="object 108"/>
          <p:cNvSpPr/>
          <p:nvPr/>
        </p:nvSpPr>
        <p:spPr>
          <a:xfrm>
            <a:off x="8584183" y="2246503"/>
            <a:ext cx="135255" cy="139065"/>
          </a:xfrm>
          <a:custGeom>
            <a:avLst/>
            <a:gdLst/>
            <a:ahLst/>
            <a:cxnLst/>
            <a:rect l="l" t="t" r="r" b="b"/>
            <a:pathLst>
              <a:path w="135254" h="139064">
                <a:moveTo>
                  <a:pt x="58166" y="0"/>
                </a:moveTo>
                <a:lnTo>
                  <a:pt x="42799" y="4445"/>
                </a:lnTo>
                <a:lnTo>
                  <a:pt x="31623" y="10160"/>
                </a:lnTo>
                <a:lnTo>
                  <a:pt x="21971" y="18796"/>
                </a:lnTo>
                <a:lnTo>
                  <a:pt x="12192" y="27432"/>
                </a:lnTo>
                <a:lnTo>
                  <a:pt x="6731" y="37337"/>
                </a:lnTo>
                <a:lnTo>
                  <a:pt x="0" y="58420"/>
                </a:lnTo>
                <a:lnTo>
                  <a:pt x="381" y="79501"/>
                </a:lnTo>
                <a:lnTo>
                  <a:pt x="27686" y="125602"/>
                </a:lnTo>
                <a:lnTo>
                  <a:pt x="50419" y="135000"/>
                </a:lnTo>
                <a:lnTo>
                  <a:pt x="63119" y="139064"/>
                </a:lnTo>
                <a:lnTo>
                  <a:pt x="75692" y="136017"/>
                </a:lnTo>
                <a:lnTo>
                  <a:pt x="88265" y="133096"/>
                </a:lnTo>
                <a:lnTo>
                  <a:pt x="103632" y="128650"/>
                </a:lnTo>
                <a:lnTo>
                  <a:pt x="123063" y="111506"/>
                </a:lnTo>
                <a:lnTo>
                  <a:pt x="128524" y="101600"/>
                </a:lnTo>
                <a:lnTo>
                  <a:pt x="135255" y="80391"/>
                </a:lnTo>
                <a:lnTo>
                  <a:pt x="135000" y="59309"/>
                </a:lnTo>
                <a:lnTo>
                  <a:pt x="127635" y="38354"/>
                </a:lnTo>
                <a:lnTo>
                  <a:pt x="118999" y="21589"/>
                </a:lnTo>
                <a:lnTo>
                  <a:pt x="96266" y="5080"/>
                </a:lnTo>
                <a:lnTo>
                  <a:pt x="84359" y="1270"/>
                </a:lnTo>
                <a:lnTo>
                  <a:pt x="69469" y="1270"/>
                </a:lnTo>
                <a:lnTo>
                  <a:pt x="58166" y="0"/>
                </a:lnTo>
                <a:close/>
              </a:path>
              <a:path w="135254" h="139064">
                <a:moveTo>
                  <a:pt x="83566" y="1016"/>
                </a:moveTo>
                <a:lnTo>
                  <a:pt x="69469" y="1270"/>
                </a:lnTo>
                <a:lnTo>
                  <a:pt x="84359" y="1270"/>
                </a:lnTo>
                <a:lnTo>
                  <a:pt x="83566" y="1016"/>
                </a:lnTo>
                <a:close/>
              </a:path>
            </a:pathLst>
          </a:custGeom>
          <a:solidFill>
            <a:srgbClr val="D9D9D9"/>
          </a:solidFill>
        </p:spPr>
        <p:txBody>
          <a:bodyPr wrap="square" lIns="0" tIns="0" rIns="0" bIns="0" rtlCol="0"/>
          <a:lstStyle/>
          <a:p>
            <a:endParaRPr/>
          </a:p>
        </p:txBody>
      </p:sp>
      <p:sp>
        <p:nvSpPr>
          <p:cNvPr id="109" name="object 109"/>
          <p:cNvSpPr/>
          <p:nvPr/>
        </p:nvSpPr>
        <p:spPr>
          <a:xfrm>
            <a:off x="8385048" y="2094739"/>
            <a:ext cx="122555" cy="125095"/>
          </a:xfrm>
          <a:custGeom>
            <a:avLst/>
            <a:gdLst/>
            <a:ahLst/>
            <a:cxnLst/>
            <a:rect l="l" t="t" r="r" b="b"/>
            <a:pathLst>
              <a:path w="122554" h="125094">
                <a:moveTo>
                  <a:pt x="65277" y="0"/>
                </a:moveTo>
                <a:lnTo>
                  <a:pt x="20574" y="16128"/>
                </a:lnTo>
                <a:lnTo>
                  <a:pt x="0" y="51562"/>
                </a:lnTo>
                <a:lnTo>
                  <a:pt x="253" y="72644"/>
                </a:lnTo>
                <a:lnTo>
                  <a:pt x="24765" y="113029"/>
                </a:lnTo>
                <a:lnTo>
                  <a:pt x="69976" y="124967"/>
                </a:lnTo>
                <a:lnTo>
                  <a:pt x="82550" y="122047"/>
                </a:lnTo>
                <a:lnTo>
                  <a:pt x="117348" y="93345"/>
                </a:lnTo>
                <a:lnTo>
                  <a:pt x="122300" y="55372"/>
                </a:lnTo>
                <a:lnTo>
                  <a:pt x="115061" y="34416"/>
                </a:lnTo>
                <a:lnTo>
                  <a:pt x="107823" y="20447"/>
                </a:lnTo>
                <a:lnTo>
                  <a:pt x="96393" y="12191"/>
                </a:lnTo>
                <a:lnTo>
                  <a:pt x="86486" y="6731"/>
                </a:lnTo>
                <a:lnTo>
                  <a:pt x="76580" y="1142"/>
                </a:lnTo>
                <a:lnTo>
                  <a:pt x="65277" y="0"/>
                </a:lnTo>
                <a:close/>
              </a:path>
            </a:pathLst>
          </a:custGeom>
          <a:solidFill>
            <a:srgbClr val="D9D9D9"/>
          </a:solidFill>
        </p:spPr>
        <p:txBody>
          <a:bodyPr wrap="square" lIns="0" tIns="0" rIns="0" bIns="0" rtlCol="0"/>
          <a:lstStyle/>
          <a:p>
            <a:endParaRPr/>
          </a:p>
        </p:txBody>
      </p:sp>
      <p:sp>
        <p:nvSpPr>
          <p:cNvPr id="110" name="object 110"/>
          <p:cNvSpPr/>
          <p:nvPr/>
        </p:nvSpPr>
        <p:spPr>
          <a:xfrm>
            <a:off x="8385048" y="2094739"/>
            <a:ext cx="122555" cy="125095"/>
          </a:xfrm>
          <a:custGeom>
            <a:avLst/>
            <a:gdLst/>
            <a:ahLst/>
            <a:cxnLst/>
            <a:rect l="l" t="t" r="r" b="b"/>
            <a:pathLst>
              <a:path w="122554" h="125094">
                <a:moveTo>
                  <a:pt x="65277" y="0"/>
                </a:moveTo>
                <a:lnTo>
                  <a:pt x="20574" y="16128"/>
                </a:lnTo>
                <a:lnTo>
                  <a:pt x="0" y="51562"/>
                </a:lnTo>
                <a:lnTo>
                  <a:pt x="253" y="72644"/>
                </a:lnTo>
                <a:lnTo>
                  <a:pt x="24765" y="113029"/>
                </a:lnTo>
                <a:lnTo>
                  <a:pt x="69976" y="124967"/>
                </a:lnTo>
                <a:lnTo>
                  <a:pt x="82550" y="122047"/>
                </a:lnTo>
                <a:lnTo>
                  <a:pt x="117348" y="93345"/>
                </a:lnTo>
                <a:lnTo>
                  <a:pt x="122300" y="55372"/>
                </a:lnTo>
                <a:lnTo>
                  <a:pt x="115061" y="34416"/>
                </a:lnTo>
                <a:lnTo>
                  <a:pt x="107823" y="20447"/>
                </a:lnTo>
                <a:lnTo>
                  <a:pt x="96393" y="12191"/>
                </a:lnTo>
                <a:lnTo>
                  <a:pt x="86486" y="6731"/>
                </a:lnTo>
                <a:lnTo>
                  <a:pt x="76580" y="1142"/>
                </a:lnTo>
                <a:lnTo>
                  <a:pt x="65277" y="0"/>
                </a:lnTo>
                <a:close/>
              </a:path>
            </a:pathLst>
          </a:custGeom>
          <a:solidFill>
            <a:srgbClr val="D9D9D9"/>
          </a:solidFill>
        </p:spPr>
        <p:txBody>
          <a:bodyPr wrap="square" lIns="0" tIns="0" rIns="0" bIns="0" rtlCol="0"/>
          <a:lstStyle/>
          <a:p>
            <a:endParaRPr/>
          </a:p>
        </p:txBody>
      </p:sp>
      <p:sp>
        <p:nvSpPr>
          <p:cNvPr id="111" name="object 111"/>
          <p:cNvSpPr/>
          <p:nvPr/>
        </p:nvSpPr>
        <p:spPr>
          <a:xfrm>
            <a:off x="8161146" y="1982978"/>
            <a:ext cx="113031" cy="111125"/>
          </a:xfrm>
          <a:custGeom>
            <a:avLst/>
            <a:gdLst/>
            <a:ahLst/>
            <a:cxnLst/>
            <a:rect l="l" t="t" r="r" b="b"/>
            <a:pathLst>
              <a:path w="113029" h="111125">
                <a:moveTo>
                  <a:pt x="47117" y="0"/>
                </a:moveTo>
                <a:lnTo>
                  <a:pt x="8254" y="27305"/>
                </a:lnTo>
                <a:lnTo>
                  <a:pt x="0" y="45720"/>
                </a:lnTo>
                <a:lnTo>
                  <a:pt x="1650" y="62611"/>
                </a:lnTo>
                <a:lnTo>
                  <a:pt x="34671" y="105663"/>
                </a:lnTo>
                <a:lnTo>
                  <a:pt x="65658" y="110871"/>
                </a:lnTo>
                <a:lnTo>
                  <a:pt x="75437" y="109220"/>
                </a:lnTo>
                <a:lnTo>
                  <a:pt x="86613" y="103505"/>
                </a:lnTo>
                <a:lnTo>
                  <a:pt x="93599" y="96393"/>
                </a:lnTo>
                <a:lnTo>
                  <a:pt x="107442" y="82042"/>
                </a:lnTo>
                <a:lnTo>
                  <a:pt x="112775" y="65150"/>
                </a:lnTo>
                <a:lnTo>
                  <a:pt x="111125" y="48260"/>
                </a:lnTo>
                <a:lnTo>
                  <a:pt x="105282" y="30099"/>
                </a:lnTo>
                <a:lnTo>
                  <a:pt x="98044" y="16129"/>
                </a:lnTo>
                <a:lnTo>
                  <a:pt x="88137" y="10668"/>
                </a:lnTo>
                <a:lnTo>
                  <a:pt x="80899" y="3810"/>
                </a:lnTo>
                <a:lnTo>
                  <a:pt x="47117" y="0"/>
                </a:lnTo>
                <a:close/>
              </a:path>
            </a:pathLst>
          </a:custGeom>
          <a:solidFill>
            <a:srgbClr val="D9D9D9"/>
          </a:solidFill>
        </p:spPr>
        <p:txBody>
          <a:bodyPr wrap="square" lIns="0" tIns="0" rIns="0" bIns="0" rtlCol="0"/>
          <a:lstStyle/>
          <a:p>
            <a:endParaRPr/>
          </a:p>
        </p:txBody>
      </p:sp>
      <p:sp>
        <p:nvSpPr>
          <p:cNvPr id="112" name="object 112"/>
          <p:cNvSpPr/>
          <p:nvPr/>
        </p:nvSpPr>
        <p:spPr>
          <a:xfrm>
            <a:off x="8161146" y="1982978"/>
            <a:ext cx="113031" cy="111125"/>
          </a:xfrm>
          <a:custGeom>
            <a:avLst/>
            <a:gdLst/>
            <a:ahLst/>
            <a:cxnLst/>
            <a:rect l="l" t="t" r="r" b="b"/>
            <a:pathLst>
              <a:path w="113029" h="111125">
                <a:moveTo>
                  <a:pt x="47117" y="0"/>
                </a:moveTo>
                <a:lnTo>
                  <a:pt x="8254" y="27305"/>
                </a:lnTo>
                <a:lnTo>
                  <a:pt x="0" y="45720"/>
                </a:lnTo>
                <a:lnTo>
                  <a:pt x="1650" y="62611"/>
                </a:lnTo>
                <a:lnTo>
                  <a:pt x="34671" y="105663"/>
                </a:lnTo>
                <a:lnTo>
                  <a:pt x="65658" y="110871"/>
                </a:lnTo>
                <a:lnTo>
                  <a:pt x="75437" y="109220"/>
                </a:lnTo>
                <a:lnTo>
                  <a:pt x="86613" y="103505"/>
                </a:lnTo>
                <a:lnTo>
                  <a:pt x="93599" y="96393"/>
                </a:lnTo>
                <a:lnTo>
                  <a:pt x="107442" y="82042"/>
                </a:lnTo>
                <a:lnTo>
                  <a:pt x="112775" y="65150"/>
                </a:lnTo>
                <a:lnTo>
                  <a:pt x="111125" y="48260"/>
                </a:lnTo>
                <a:lnTo>
                  <a:pt x="105282" y="30099"/>
                </a:lnTo>
                <a:lnTo>
                  <a:pt x="98044" y="16129"/>
                </a:lnTo>
                <a:lnTo>
                  <a:pt x="88137" y="10668"/>
                </a:lnTo>
                <a:lnTo>
                  <a:pt x="80899" y="3810"/>
                </a:lnTo>
                <a:lnTo>
                  <a:pt x="47117" y="0"/>
                </a:lnTo>
                <a:close/>
              </a:path>
            </a:pathLst>
          </a:custGeom>
          <a:solidFill>
            <a:srgbClr val="D9D9D9"/>
          </a:solidFill>
        </p:spPr>
        <p:txBody>
          <a:bodyPr wrap="square" lIns="0" tIns="0" rIns="0" bIns="0" rtlCol="0"/>
          <a:lstStyle/>
          <a:p>
            <a:endParaRPr/>
          </a:p>
        </p:txBody>
      </p:sp>
      <p:sp>
        <p:nvSpPr>
          <p:cNvPr id="113" name="object 113"/>
          <p:cNvSpPr/>
          <p:nvPr/>
        </p:nvSpPr>
        <p:spPr>
          <a:xfrm>
            <a:off x="7921372" y="1910588"/>
            <a:ext cx="100965" cy="101600"/>
          </a:xfrm>
          <a:custGeom>
            <a:avLst/>
            <a:gdLst/>
            <a:ahLst/>
            <a:cxnLst/>
            <a:rect l="l" t="t" r="r" b="b"/>
            <a:pathLst>
              <a:path w="100965" h="101600">
                <a:moveTo>
                  <a:pt x="51053" y="0"/>
                </a:moveTo>
                <a:lnTo>
                  <a:pt x="14731" y="11811"/>
                </a:lnTo>
                <a:lnTo>
                  <a:pt x="0" y="58420"/>
                </a:lnTo>
                <a:lnTo>
                  <a:pt x="4445" y="73787"/>
                </a:lnTo>
                <a:lnTo>
                  <a:pt x="12953" y="83565"/>
                </a:lnTo>
                <a:lnTo>
                  <a:pt x="20065" y="90424"/>
                </a:lnTo>
                <a:lnTo>
                  <a:pt x="30099" y="95885"/>
                </a:lnTo>
                <a:lnTo>
                  <a:pt x="46989" y="101346"/>
                </a:lnTo>
                <a:lnTo>
                  <a:pt x="66675" y="98171"/>
                </a:lnTo>
                <a:lnTo>
                  <a:pt x="99822" y="59689"/>
                </a:lnTo>
                <a:lnTo>
                  <a:pt x="100964" y="41401"/>
                </a:lnTo>
                <a:lnTo>
                  <a:pt x="87883" y="16383"/>
                </a:lnTo>
                <a:lnTo>
                  <a:pt x="80772" y="9398"/>
                </a:lnTo>
                <a:lnTo>
                  <a:pt x="70865" y="3937"/>
                </a:lnTo>
                <a:lnTo>
                  <a:pt x="51053" y="0"/>
                </a:lnTo>
                <a:close/>
              </a:path>
            </a:pathLst>
          </a:custGeom>
          <a:solidFill>
            <a:srgbClr val="D9D9D9"/>
          </a:solidFill>
        </p:spPr>
        <p:txBody>
          <a:bodyPr wrap="square" lIns="0" tIns="0" rIns="0" bIns="0" rtlCol="0"/>
          <a:lstStyle/>
          <a:p>
            <a:endParaRPr/>
          </a:p>
        </p:txBody>
      </p:sp>
      <p:sp>
        <p:nvSpPr>
          <p:cNvPr id="114" name="object 114"/>
          <p:cNvSpPr/>
          <p:nvPr/>
        </p:nvSpPr>
        <p:spPr>
          <a:xfrm>
            <a:off x="7921372" y="1910588"/>
            <a:ext cx="100965" cy="101600"/>
          </a:xfrm>
          <a:custGeom>
            <a:avLst/>
            <a:gdLst/>
            <a:ahLst/>
            <a:cxnLst/>
            <a:rect l="l" t="t" r="r" b="b"/>
            <a:pathLst>
              <a:path w="100965" h="101600">
                <a:moveTo>
                  <a:pt x="51053" y="0"/>
                </a:moveTo>
                <a:lnTo>
                  <a:pt x="14731" y="11811"/>
                </a:lnTo>
                <a:lnTo>
                  <a:pt x="0" y="58420"/>
                </a:lnTo>
                <a:lnTo>
                  <a:pt x="4445" y="73787"/>
                </a:lnTo>
                <a:lnTo>
                  <a:pt x="12953" y="83565"/>
                </a:lnTo>
                <a:lnTo>
                  <a:pt x="20065" y="90424"/>
                </a:lnTo>
                <a:lnTo>
                  <a:pt x="30099" y="95885"/>
                </a:lnTo>
                <a:lnTo>
                  <a:pt x="46989" y="101346"/>
                </a:lnTo>
                <a:lnTo>
                  <a:pt x="66675" y="98171"/>
                </a:lnTo>
                <a:lnTo>
                  <a:pt x="99822" y="59689"/>
                </a:lnTo>
                <a:lnTo>
                  <a:pt x="100964" y="41401"/>
                </a:lnTo>
                <a:lnTo>
                  <a:pt x="87883" y="16383"/>
                </a:lnTo>
                <a:lnTo>
                  <a:pt x="80772" y="9398"/>
                </a:lnTo>
                <a:lnTo>
                  <a:pt x="70865" y="3937"/>
                </a:lnTo>
                <a:lnTo>
                  <a:pt x="51053" y="0"/>
                </a:lnTo>
                <a:close/>
              </a:path>
            </a:pathLst>
          </a:custGeom>
          <a:solidFill>
            <a:srgbClr val="D9D9D9"/>
          </a:solidFill>
        </p:spPr>
        <p:txBody>
          <a:bodyPr wrap="square" lIns="0" tIns="0" rIns="0" bIns="0" rtlCol="0"/>
          <a:lstStyle/>
          <a:p>
            <a:endParaRPr/>
          </a:p>
        </p:txBody>
      </p:sp>
      <p:sp>
        <p:nvSpPr>
          <p:cNvPr id="115" name="object 115"/>
          <p:cNvSpPr/>
          <p:nvPr/>
        </p:nvSpPr>
        <p:spPr>
          <a:xfrm>
            <a:off x="7671816" y="1880616"/>
            <a:ext cx="88900" cy="90170"/>
          </a:xfrm>
          <a:custGeom>
            <a:avLst/>
            <a:gdLst/>
            <a:ahLst/>
            <a:cxnLst/>
            <a:rect l="l" t="t" r="r" b="b"/>
            <a:pathLst>
              <a:path w="88900" h="90169">
                <a:moveTo>
                  <a:pt x="44323" y="0"/>
                </a:moveTo>
                <a:lnTo>
                  <a:pt x="28955" y="4445"/>
                </a:lnTo>
                <a:lnTo>
                  <a:pt x="12191" y="13208"/>
                </a:lnTo>
                <a:lnTo>
                  <a:pt x="3936" y="24511"/>
                </a:lnTo>
                <a:lnTo>
                  <a:pt x="0" y="37211"/>
                </a:lnTo>
                <a:lnTo>
                  <a:pt x="126" y="51308"/>
                </a:lnTo>
                <a:lnTo>
                  <a:pt x="4572" y="66675"/>
                </a:lnTo>
                <a:lnTo>
                  <a:pt x="8889" y="75057"/>
                </a:lnTo>
                <a:lnTo>
                  <a:pt x="26034" y="87503"/>
                </a:lnTo>
                <a:lnTo>
                  <a:pt x="41528" y="90043"/>
                </a:lnTo>
                <a:lnTo>
                  <a:pt x="58292" y="88392"/>
                </a:lnTo>
                <a:lnTo>
                  <a:pt x="75056" y="79756"/>
                </a:lnTo>
                <a:lnTo>
                  <a:pt x="83311" y="68325"/>
                </a:lnTo>
                <a:lnTo>
                  <a:pt x="88773" y="51435"/>
                </a:lnTo>
                <a:lnTo>
                  <a:pt x="88518" y="37337"/>
                </a:lnTo>
                <a:lnTo>
                  <a:pt x="82676" y="26162"/>
                </a:lnTo>
                <a:lnTo>
                  <a:pt x="76961" y="14986"/>
                </a:lnTo>
                <a:lnTo>
                  <a:pt x="61340" y="5461"/>
                </a:lnTo>
                <a:lnTo>
                  <a:pt x="44323" y="0"/>
                </a:lnTo>
                <a:close/>
              </a:path>
            </a:pathLst>
          </a:custGeom>
          <a:solidFill>
            <a:srgbClr val="D9D9D9"/>
          </a:solidFill>
        </p:spPr>
        <p:txBody>
          <a:bodyPr wrap="square" lIns="0" tIns="0" rIns="0" bIns="0" rtlCol="0"/>
          <a:lstStyle/>
          <a:p>
            <a:endParaRPr/>
          </a:p>
        </p:txBody>
      </p:sp>
      <p:sp>
        <p:nvSpPr>
          <p:cNvPr id="116" name="object 116"/>
          <p:cNvSpPr/>
          <p:nvPr/>
        </p:nvSpPr>
        <p:spPr>
          <a:xfrm>
            <a:off x="7671816" y="1880616"/>
            <a:ext cx="88900" cy="90170"/>
          </a:xfrm>
          <a:custGeom>
            <a:avLst/>
            <a:gdLst/>
            <a:ahLst/>
            <a:cxnLst/>
            <a:rect l="l" t="t" r="r" b="b"/>
            <a:pathLst>
              <a:path w="88900" h="90169">
                <a:moveTo>
                  <a:pt x="44323" y="0"/>
                </a:moveTo>
                <a:lnTo>
                  <a:pt x="28955" y="4445"/>
                </a:lnTo>
                <a:lnTo>
                  <a:pt x="12191" y="13208"/>
                </a:lnTo>
                <a:lnTo>
                  <a:pt x="3936" y="24511"/>
                </a:lnTo>
                <a:lnTo>
                  <a:pt x="0" y="37211"/>
                </a:lnTo>
                <a:lnTo>
                  <a:pt x="126" y="51308"/>
                </a:lnTo>
                <a:lnTo>
                  <a:pt x="4572" y="66675"/>
                </a:lnTo>
                <a:lnTo>
                  <a:pt x="8889" y="75057"/>
                </a:lnTo>
                <a:lnTo>
                  <a:pt x="26034" y="87503"/>
                </a:lnTo>
                <a:lnTo>
                  <a:pt x="41528" y="90043"/>
                </a:lnTo>
                <a:lnTo>
                  <a:pt x="58292" y="88392"/>
                </a:lnTo>
                <a:lnTo>
                  <a:pt x="75056" y="79756"/>
                </a:lnTo>
                <a:lnTo>
                  <a:pt x="83311" y="68325"/>
                </a:lnTo>
                <a:lnTo>
                  <a:pt x="88773" y="51435"/>
                </a:lnTo>
                <a:lnTo>
                  <a:pt x="88518" y="37337"/>
                </a:lnTo>
                <a:lnTo>
                  <a:pt x="82676" y="26162"/>
                </a:lnTo>
                <a:lnTo>
                  <a:pt x="76961" y="14986"/>
                </a:lnTo>
                <a:lnTo>
                  <a:pt x="61340" y="5461"/>
                </a:lnTo>
                <a:lnTo>
                  <a:pt x="44323" y="0"/>
                </a:lnTo>
                <a:close/>
              </a:path>
            </a:pathLst>
          </a:custGeom>
          <a:solidFill>
            <a:srgbClr val="D9D9D9"/>
          </a:solidFill>
        </p:spPr>
        <p:txBody>
          <a:bodyPr wrap="square" lIns="0" tIns="0" rIns="0" bIns="0" rtlCol="0"/>
          <a:lstStyle/>
          <a:p>
            <a:endParaRPr/>
          </a:p>
        </p:txBody>
      </p:sp>
      <p:sp>
        <p:nvSpPr>
          <p:cNvPr id="117" name="object 117"/>
          <p:cNvSpPr/>
          <p:nvPr/>
        </p:nvSpPr>
        <p:spPr>
          <a:xfrm>
            <a:off x="7416039" y="1897127"/>
            <a:ext cx="81914" cy="80645"/>
          </a:xfrm>
          <a:custGeom>
            <a:avLst/>
            <a:gdLst/>
            <a:ahLst/>
            <a:cxnLst/>
            <a:rect l="l" t="t" r="r" b="b"/>
            <a:pathLst>
              <a:path w="81915" h="80644">
                <a:moveTo>
                  <a:pt x="43179" y="0"/>
                </a:moveTo>
                <a:lnTo>
                  <a:pt x="26288" y="1650"/>
                </a:lnTo>
                <a:lnTo>
                  <a:pt x="13842" y="11684"/>
                </a:lnTo>
                <a:lnTo>
                  <a:pt x="4063" y="20320"/>
                </a:lnTo>
                <a:lnTo>
                  <a:pt x="0" y="33020"/>
                </a:lnTo>
                <a:lnTo>
                  <a:pt x="253" y="46989"/>
                </a:lnTo>
                <a:lnTo>
                  <a:pt x="6095" y="58165"/>
                </a:lnTo>
                <a:lnTo>
                  <a:pt x="10413" y="66548"/>
                </a:lnTo>
                <a:lnTo>
                  <a:pt x="23240" y="77597"/>
                </a:lnTo>
                <a:lnTo>
                  <a:pt x="38734" y="80263"/>
                </a:lnTo>
                <a:lnTo>
                  <a:pt x="55498" y="78612"/>
                </a:lnTo>
                <a:lnTo>
                  <a:pt x="69468" y="71374"/>
                </a:lnTo>
                <a:lnTo>
                  <a:pt x="77723" y="59944"/>
                </a:lnTo>
                <a:lnTo>
                  <a:pt x="81787" y="47244"/>
                </a:lnTo>
                <a:lnTo>
                  <a:pt x="81533" y="33147"/>
                </a:lnTo>
                <a:lnTo>
                  <a:pt x="78612" y="20574"/>
                </a:lnTo>
                <a:lnTo>
                  <a:pt x="71500" y="13715"/>
                </a:lnTo>
                <a:lnTo>
                  <a:pt x="58673" y="2539"/>
                </a:lnTo>
                <a:lnTo>
                  <a:pt x="43179" y="0"/>
                </a:lnTo>
                <a:close/>
              </a:path>
            </a:pathLst>
          </a:custGeom>
          <a:solidFill>
            <a:srgbClr val="D9D9D9"/>
          </a:solidFill>
        </p:spPr>
        <p:txBody>
          <a:bodyPr wrap="square" lIns="0" tIns="0" rIns="0" bIns="0" rtlCol="0"/>
          <a:lstStyle/>
          <a:p>
            <a:endParaRPr/>
          </a:p>
        </p:txBody>
      </p:sp>
      <p:sp>
        <p:nvSpPr>
          <p:cNvPr id="118" name="object 118"/>
          <p:cNvSpPr/>
          <p:nvPr/>
        </p:nvSpPr>
        <p:spPr>
          <a:xfrm>
            <a:off x="7416039" y="1897127"/>
            <a:ext cx="81914" cy="80645"/>
          </a:xfrm>
          <a:custGeom>
            <a:avLst/>
            <a:gdLst/>
            <a:ahLst/>
            <a:cxnLst/>
            <a:rect l="l" t="t" r="r" b="b"/>
            <a:pathLst>
              <a:path w="81915" h="80644">
                <a:moveTo>
                  <a:pt x="43179" y="0"/>
                </a:moveTo>
                <a:lnTo>
                  <a:pt x="26288" y="1650"/>
                </a:lnTo>
                <a:lnTo>
                  <a:pt x="13842" y="11684"/>
                </a:lnTo>
                <a:lnTo>
                  <a:pt x="4063" y="20320"/>
                </a:lnTo>
                <a:lnTo>
                  <a:pt x="0" y="33020"/>
                </a:lnTo>
                <a:lnTo>
                  <a:pt x="253" y="46989"/>
                </a:lnTo>
                <a:lnTo>
                  <a:pt x="6095" y="58165"/>
                </a:lnTo>
                <a:lnTo>
                  <a:pt x="10413" y="66548"/>
                </a:lnTo>
                <a:lnTo>
                  <a:pt x="23240" y="77597"/>
                </a:lnTo>
                <a:lnTo>
                  <a:pt x="38734" y="80263"/>
                </a:lnTo>
                <a:lnTo>
                  <a:pt x="55498" y="78612"/>
                </a:lnTo>
                <a:lnTo>
                  <a:pt x="69468" y="71374"/>
                </a:lnTo>
                <a:lnTo>
                  <a:pt x="77723" y="59944"/>
                </a:lnTo>
                <a:lnTo>
                  <a:pt x="81787" y="47244"/>
                </a:lnTo>
                <a:lnTo>
                  <a:pt x="81533" y="33147"/>
                </a:lnTo>
                <a:lnTo>
                  <a:pt x="78612" y="20574"/>
                </a:lnTo>
                <a:lnTo>
                  <a:pt x="71500" y="13715"/>
                </a:lnTo>
                <a:lnTo>
                  <a:pt x="58673" y="2539"/>
                </a:lnTo>
                <a:lnTo>
                  <a:pt x="43179" y="0"/>
                </a:lnTo>
                <a:close/>
              </a:path>
            </a:pathLst>
          </a:custGeom>
          <a:solidFill>
            <a:srgbClr val="D9D9D9"/>
          </a:solidFill>
        </p:spPr>
        <p:txBody>
          <a:bodyPr wrap="square" lIns="0" tIns="0" rIns="0" bIns="0" rtlCol="0"/>
          <a:lstStyle/>
          <a:p>
            <a:endParaRPr/>
          </a:p>
        </p:txBody>
      </p:sp>
      <p:sp>
        <p:nvSpPr>
          <p:cNvPr id="119" name="object 119"/>
          <p:cNvSpPr/>
          <p:nvPr/>
        </p:nvSpPr>
        <p:spPr>
          <a:xfrm>
            <a:off x="7168260" y="1957070"/>
            <a:ext cx="74931" cy="73660"/>
          </a:xfrm>
          <a:custGeom>
            <a:avLst/>
            <a:gdLst/>
            <a:ahLst/>
            <a:cxnLst/>
            <a:rect l="l" t="t" r="r" b="b"/>
            <a:pathLst>
              <a:path w="74929" h="73660">
                <a:moveTo>
                  <a:pt x="38735" y="0"/>
                </a:moveTo>
                <a:lnTo>
                  <a:pt x="1270" y="30099"/>
                </a:lnTo>
                <a:lnTo>
                  <a:pt x="0" y="41401"/>
                </a:lnTo>
                <a:lnTo>
                  <a:pt x="5842" y="52577"/>
                </a:lnTo>
                <a:lnTo>
                  <a:pt x="10160" y="60959"/>
                </a:lnTo>
                <a:lnTo>
                  <a:pt x="21590" y="69214"/>
                </a:lnTo>
                <a:lnTo>
                  <a:pt x="34290" y="73151"/>
                </a:lnTo>
                <a:lnTo>
                  <a:pt x="49657" y="68706"/>
                </a:lnTo>
                <a:lnTo>
                  <a:pt x="60833" y="62991"/>
                </a:lnTo>
                <a:lnTo>
                  <a:pt x="69088" y="51562"/>
                </a:lnTo>
                <a:lnTo>
                  <a:pt x="74549" y="41655"/>
                </a:lnTo>
                <a:lnTo>
                  <a:pt x="71500" y="29082"/>
                </a:lnTo>
                <a:lnTo>
                  <a:pt x="69977" y="19303"/>
                </a:lnTo>
                <a:lnTo>
                  <a:pt x="65659" y="10921"/>
                </a:lnTo>
                <a:lnTo>
                  <a:pt x="51435" y="4063"/>
                </a:lnTo>
                <a:lnTo>
                  <a:pt x="38735" y="0"/>
                </a:lnTo>
                <a:close/>
              </a:path>
            </a:pathLst>
          </a:custGeom>
          <a:solidFill>
            <a:srgbClr val="D9D9D9"/>
          </a:solidFill>
        </p:spPr>
        <p:txBody>
          <a:bodyPr wrap="square" lIns="0" tIns="0" rIns="0" bIns="0" rtlCol="0"/>
          <a:lstStyle/>
          <a:p>
            <a:endParaRPr/>
          </a:p>
        </p:txBody>
      </p:sp>
      <p:sp>
        <p:nvSpPr>
          <p:cNvPr id="120" name="object 120"/>
          <p:cNvSpPr/>
          <p:nvPr/>
        </p:nvSpPr>
        <p:spPr>
          <a:xfrm>
            <a:off x="7168260" y="1957070"/>
            <a:ext cx="74931" cy="73660"/>
          </a:xfrm>
          <a:custGeom>
            <a:avLst/>
            <a:gdLst/>
            <a:ahLst/>
            <a:cxnLst/>
            <a:rect l="l" t="t" r="r" b="b"/>
            <a:pathLst>
              <a:path w="74929" h="73660">
                <a:moveTo>
                  <a:pt x="38735" y="0"/>
                </a:moveTo>
                <a:lnTo>
                  <a:pt x="1270" y="30099"/>
                </a:lnTo>
                <a:lnTo>
                  <a:pt x="0" y="41401"/>
                </a:lnTo>
                <a:lnTo>
                  <a:pt x="5842" y="52577"/>
                </a:lnTo>
                <a:lnTo>
                  <a:pt x="10160" y="60959"/>
                </a:lnTo>
                <a:lnTo>
                  <a:pt x="21590" y="69214"/>
                </a:lnTo>
                <a:lnTo>
                  <a:pt x="34290" y="73151"/>
                </a:lnTo>
                <a:lnTo>
                  <a:pt x="49657" y="68706"/>
                </a:lnTo>
                <a:lnTo>
                  <a:pt x="60833" y="62991"/>
                </a:lnTo>
                <a:lnTo>
                  <a:pt x="69088" y="51562"/>
                </a:lnTo>
                <a:lnTo>
                  <a:pt x="74549" y="41655"/>
                </a:lnTo>
                <a:lnTo>
                  <a:pt x="71500" y="29082"/>
                </a:lnTo>
                <a:lnTo>
                  <a:pt x="69977" y="19303"/>
                </a:lnTo>
                <a:lnTo>
                  <a:pt x="65659" y="10921"/>
                </a:lnTo>
                <a:lnTo>
                  <a:pt x="51435" y="4063"/>
                </a:lnTo>
                <a:lnTo>
                  <a:pt x="38735" y="0"/>
                </a:lnTo>
                <a:close/>
              </a:path>
            </a:pathLst>
          </a:custGeom>
          <a:solidFill>
            <a:srgbClr val="D9D9D9"/>
          </a:solidFill>
        </p:spPr>
        <p:txBody>
          <a:bodyPr wrap="square" lIns="0" tIns="0" rIns="0" bIns="0" rtlCol="0"/>
          <a:lstStyle/>
          <a:p>
            <a:endParaRPr/>
          </a:p>
        </p:txBody>
      </p:sp>
      <p:sp>
        <p:nvSpPr>
          <p:cNvPr id="121" name="object 121"/>
          <p:cNvSpPr/>
          <p:nvPr/>
        </p:nvSpPr>
        <p:spPr>
          <a:xfrm>
            <a:off x="6932170" y="2059052"/>
            <a:ext cx="67945" cy="66675"/>
          </a:xfrm>
          <a:custGeom>
            <a:avLst/>
            <a:gdLst/>
            <a:ahLst/>
            <a:cxnLst/>
            <a:rect l="l" t="t" r="r" b="b"/>
            <a:pathLst>
              <a:path w="67945" h="66675">
                <a:moveTo>
                  <a:pt x="37464" y="0"/>
                </a:moveTo>
                <a:lnTo>
                  <a:pt x="23367" y="253"/>
                </a:lnTo>
                <a:lnTo>
                  <a:pt x="12191" y="5969"/>
                </a:lnTo>
                <a:lnTo>
                  <a:pt x="1270" y="25781"/>
                </a:lnTo>
                <a:lnTo>
                  <a:pt x="0" y="37084"/>
                </a:lnTo>
                <a:lnTo>
                  <a:pt x="5841" y="48260"/>
                </a:lnTo>
                <a:lnTo>
                  <a:pt x="8635" y="53848"/>
                </a:lnTo>
                <a:lnTo>
                  <a:pt x="20065" y="62102"/>
                </a:lnTo>
                <a:lnTo>
                  <a:pt x="32765" y="66166"/>
                </a:lnTo>
                <a:lnTo>
                  <a:pt x="45338" y="63119"/>
                </a:lnTo>
                <a:lnTo>
                  <a:pt x="56514" y="57403"/>
                </a:lnTo>
                <a:lnTo>
                  <a:pt x="61975" y="47371"/>
                </a:lnTo>
                <a:lnTo>
                  <a:pt x="67436" y="37464"/>
                </a:lnTo>
                <a:lnTo>
                  <a:pt x="64388" y="17907"/>
                </a:lnTo>
                <a:lnTo>
                  <a:pt x="60071" y="9525"/>
                </a:lnTo>
                <a:lnTo>
                  <a:pt x="48640" y="1270"/>
                </a:lnTo>
                <a:lnTo>
                  <a:pt x="37464" y="0"/>
                </a:lnTo>
                <a:close/>
              </a:path>
            </a:pathLst>
          </a:custGeom>
          <a:solidFill>
            <a:srgbClr val="D9D9D9"/>
          </a:solidFill>
        </p:spPr>
        <p:txBody>
          <a:bodyPr wrap="square" lIns="0" tIns="0" rIns="0" bIns="0" rtlCol="0"/>
          <a:lstStyle/>
          <a:p>
            <a:endParaRPr/>
          </a:p>
        </p:txBody>
      </p:sp>
      <p:sp>
        <p:nvSpPr>
          <p:cNvPr id="122" name="object 122"/>
          <p:cNvSpPr/>
          <p:nvPr/>
        </p:nvSpPr>
        <p:spPr>
          <a:xfrm>
            <a:off x="6932170" y="2059052"/>
            <a:ext cx="67945" cy="66675"/>
          </a:xfrm>
          <a:custGeom>
            <a:avLst/>
            <a:gdLst/>
            <a:ahLst/>
            <a:cxnLst/>
            <a:rect l="l" t="t" r="r" b="b"/>
            <a:pathLst>
              <a:path w="67945" h="66675">
                <a:moveTo>
                  <a:pt x="37464" y="0"/>
                </a:moveTo>
                <a:lnTo>
                  <a:pt x="23367" y="253"/>
                </a:lnTo>
                <a:lnTo>
                  <a:pt x="12191" y="5969"/>
                </a:lnTo>
                <a:lnTo>
                  <a:pt x="1270" y="25781"/>
                </a:lnTo>
                <a:lnTo>
                  <a:pt x="0" y="37084"/>
                </a:lnTo>
                <a:lnTo>
                  <a:pt x="5841" y="48260"/>
                </a:lnTo>
                <a:lnTo>
                  <a:pt x="8635" y="53848"/>
                </a:lnTo>
                <a:lnTo>
                  <a:pt x="20065" y="62102"/>
                </a:lnTo>
                <a:lnTo>
                  <a:pt x="32765" y="66166"/>
                </a:lnTo>
                <a:lnTo>
                  <a:pt x="45338" y="63119"/>
                </a:lnTo>
                <a:lnTo>
                  <a:pt x="56514" y="57403"/>
                </a:lnTo>
                <a:lnTo>
                  <a:pt x="61975" y="47371"/>
                </a:lnTo>
                <a:lnTo>
                  <a:pt x="67436" y="37464"/>
                </a:lnTo>
                <a:lnTo>
                  <a:pt x="64388" y="17907"/>
                </a:lnTo>
                <a:lnTo>
                  <a:pt x="60071" y="9525"/>
                </a:lnTo>
                <a:lnTo>
                  <a:pt x="48640" y="1270"/>
                </a:lnTo>
                <a:lnTo>
                  <a:pt x="37464" y="0"/>
                </a:lnTo>
                <a:close/>
              </a:path>
            </a:pathLst>
          </a:custGeom>
          <a:solidFill>
            <a:srgbClr val="D9D9D9"/>
          </a:solidFill>
        </p:spPr>
        <p:txBody>
          <a:bodyPr wrap="square" lIns="0" tIns="0" rIns="0" bIns="0" rtlCol="0"/>
          <a:lstStyle/>
          <a:p>
            <a:endParaRPr/>
          </a:p>
        </p:txBody>
      </p:sp>
      <p:sp>
        <p:nvSpPr>
          <p:cNvPr id="123" name="object 123"/>
          <p:cNvSpPr/>
          <p:nvPr/>
        </p:nvSpPr>
        <p:spPr>
          <a:xfrm>
            <a:off x="6719062" y="2200276"/>
            <a:ext cx="57785" cy="59055"/>
          </a:xfrm>
          <a:custGeom>
            <a:avLst/>
            <a:gdLst/>
            <a:ahLst/>
            <a:cxnLst/>
            <a:rect l="l" t="t" r="r" b="b"/>
            <a:pathLst>
              <a:path w="57784" h="59055">
                <a:moveTo>
                  <a:pt x="19304" y="0"/>
                </a:moveTo>
                <a:lnTo>
                  <a:pt x="9525" y="8509"/>
                </a:lnTo>
                <a:lnTo>
                  <a:pt x="2667" y="15621"/>
                </a:lnTo>
                <a:lnTo>
                  <a:pt x="0" y="24129"/>
                </a:lnTo>
                <a:lnTo>
                  <a:pt x="3048" y="43814"/>
                </a:lnTo>
                <a:lnTo>
                  <a:pt x="5969" y="49402"/>
                </a:lnTo>
                <a:lnTo>
                  <a:pt x="17272" y="57658"/>
                </a:lnTo>
                <a:lnTo>
                  <a:pt x="28575" y="58800"/>
                </a:lnTo>
                <a:lnTo>
                  <a:pt x="38354" y="57276"/>
                </a:lnTo>
                <a:lnTo>
                  <a:pt x="49530" y="51562"/>
                </a:lnTo>
                <a:lnTo>
                  <a:pt x="56515" y="44450"/>
                </a:lnTo>
                <a:lnTo>
                  <a:pt x="57658" y="33147"/>
                </a:lnTo>
                <a:lnTo>
                  <a:pt x="57658" y="26162"/>
                </a:lnTo>
                <a:lnTo>
                  <a:pt x="19304" y="0"/>
                </a:lnTo>
                <a:close/>
              </a:path>
            </a:pathLst>
          </a:custGeom>
          <a:solidFill>
            <a:srgbClr val="D9D9D9"/>
          </a:solidFill>
        </p:spPr>
        <p:txBody>
          <a:bodyPr wrap="square" lIns="0" tIns="0" rIns="0" bIns="0" rtlCol="0"/>
          <a:lstStyle/>
          <a:p>
            <a:endParaRPr/>
          </a:p>
        </p:txBody>
      </p:sp>
      <p:sp>
        <p:nvSpPr>
          <p:cNvPr id="124" name="object 124"/>
          <p:cNvSpPr/>
          <p:nvPr/>
        </p:nvSpPr>
        <p:spPr>
          <a:xfrm>
            <a:off x="6719062" y="2200276"/>
            <a:ext cx="57785" cy="59055"/>
          </a:xfrm>
          <a:custGeom>
            <a:avLst/>
            <a:gdLst/>
            <a:ahLst/>
            <a:cxnLst/>
            <a:rect l="l" t="t" r="r" b="b"/>
            <a:pathLst>
              <a:path w="57784" h="59055">
                <a:moveTo>
                  <a:pt x="19304" y="0"/>
                </a:moveTo>
                <a:lnTo>
                  <a:pt x="9525" y="8509"/>
                </a:lnTo>
                <a:lnTo>
                  <a:pt x="2667" y="15621"/>
                </a:lnTo>
                <a:lnTo>
                  <a:pt x="0" y="24129"/>
                </a:lnTo>
                <a:lnTo>
                  <a:pt x="3048" y="43814"/>
                </a:lnTo>
                <a:lnTo>
                  <a:pt x="5969" y="49402"/>
                </a:lnTo>
                <a:lnTo>
                  <a:pt x="17272" y="57658"/>
                </a:lnTo>
                <a:lnTo>
                  <a:pt x="28575" y="58800"/>
                </a:lnTo>
                <a:lnTo>
                  <a:pt x="38354" y="57276"/>
                </a:lnTo>
                <a:lnTo>
                  <a:pt x="49530" y="51562"/>
                </a:lnTo>
                <a:lnTo>
                  <a:pt x="56515" y="44450"/>
                </a:lnTo>
                <a:lnTo>
                  <a:pt x="57658" y="33147"/>
                </a:lnTo>
                <a:lnTo>
                  <a:pt x="57658" y="26162"/>
                </a:lnTo>
                <a:lnTo>
                  <a:pt x="19304" y="0"/>
                </a:lnTo>
                <a:close/>
              </a:path>
            </a:pathLst>
          </a:custGeom>
          <a:solidFill>
            <a:srgbClr val="D9D9D9"/>
          </a:solidFill>
        </p:spPr>
        <p:txBody>
          <a:bodyPr wrap="square" lIns="0" tIns="0" rIns="0" bIns="0" rtlCol="0"/>
          <a:lstStyle/>
          <a:p>
            <a:endParaRPr/>
          </a:p>
        </p:txBody>
      </p:sp>
      <p:sp>
        <p:nvSpPr>
          <p:cNvPr id="125" name="object 125"/>
          <p:cNvSpPr/>
          <p:nvPr/>
        </p:nvSpPr>
        <p:spPr>
          <a:xfrm>
            <a:off x="6530468" y="2378582"/>
            <a:ext cx="53975" cy="50800"/>
          </a:xfrm>
          <a:custGeom>
            <a:avLst/>
            <a:gdLst/>
            <a:ahLst/>
            <a:cxnLst/>
            <a:rect l="l" t="t" r="r" b="b"/>
            <a:pathLst>
              <a:path w="53975" h="50800">
                <a:moveTo>
                  <a:pt x="27812" y="0"/>
                </a:moveTo>
                <a:lnTo>
                  <a:pt x="17906" y="1650"/>
                </a:lnTo>
                <a:lnTo>
                  <a:pt x="9525" y="5968"/>
                </a:lnTo>
                <a:lnTo>
                  <a:pt x="2666" y="13080"/>
                </a:lnTo>
                <a:lnTo>
                  <a:pt x="0" y="21589"/>
                </a:lnTo>
                <a:lnTo>
                  <a:pt x="126" y="28575"/>
                </a:lnTo>
                <a:lnTo>
                  <a:pt x="4444" y="36956"/>
                </a:lnTo>
                <a:lnTo>
                  <a:pt x="7365" y="42544"/>
                </a:lnTo>
                <a:lnTo>
                  <a:pt x="14477" y="49402"/>
                </a:lnTo>
                <a:lnTo>
                  <a:pt x="25653" y="50672"/>
                </a:lnTo>
                <a:lnTo>
                  <a:pt x="35559" y="49149"/>
                </a:lnTo>
                <a:lnTo>
                  <a:pt x="43941" y="44830"/>
                </a:lnTo>
                <a:lnTo>
                  <a:pt x="50800" y="37591"/>
                </a:lnTo>
                <a:lnTo>
                  <a:pt x="53466" y="29209"/>
                </a:lnTo>
                <a:lnTo>
                  <a:pt x="53339" y="22097"/>
                </a:lnTo>
                <a:lnTo>
                  <a:pt x="51815" y="12318"/>
                </a:lnTo>
                <a:lnTo>
                  <a:pt x="46100" y="8254"/>
                </a:lnTo>
                <a:lnTo>
                  <a:pt x="38988" y="1269"/>
                </a:lnTo>
                <a:lnTo>
                  <a:pt x="27812" y="0"/>
                </a:lnTo>
                <a:close/>
              </a:path>
            </a:pathLst>
          </a:custGeom>
          <a:solidFill>
            <a:srgbClr val="D9D9D9"/>
          </a:solidFill>
        </p:spPr>
        <p:txBody>
          <a:bodyPr wrap="square" lIns="0" tIns="0" rIns="0" bIns="0" rtlCol="0"/>
          <a:lstStyle/>
          <a:p>
            <a:endParaRPr/>
          </a:p>
        </p:txBody>
      </p:sp>
      <p:sp>
        <p:nvSpPr>
          <p:cNvPr id="126" name="object 126"/>
          <p:cNvSpPr/>
          <p:nvPr/>
        </p:nvSpPr>
        <p:spPr>
          <a:xfrm>
            <a:off x="6530468" y="2378582"/>
            <a:ext cx="53975" cy="50800"/>
          </a:xfrm>
          <a:custGeom>
            <a:avLst/>
            <a:gdLst/>
            <a:ahLst/>
            <a:cxnLst/>
            <a:rect l="l" t="t" r="r" b="b"/>
            <a:pathLst>
              <a:path w="53975" h="50800">
                <a:moveTo>
                  <a:pt x="27812" y="0"/>
                </a:moveTo>
                <a:lnTo>
                  <a:pt x="17906" y="1650"/>
                </a:lnTo>
                <a:lnTo>
                  <a:pt x="9525" y="5968"/>
                </a:lnTo>
                <a:lnTo>
                  <a:pt x="2666" y="13080"/>
                </a:lnTo>
                <a:lnTo>
                  <a:pt x="0" y="21589"/>
                </a:lnTo>
                <a:lnTo>
                  <a:pt x="126" y="28575"/>
                </a:lnTo>
                <a:lnTo>
                  <a:pt x="4444" y="36956"/>
                </a:lnTo>
                <a:lnTo>
                  <a:pt x="7365" y="42544"/>
                </a:lnTo>
                <a:lnTo>
                  <a:pt x="14477" y="49402"/>
                </a:lnTo>
                <a:lnTo>
                  <a:pt x="25653" y="50672"/>
                </a:lnTo>
                <a:lnTo>
                  <a:pt x="35559" y="49149"/>
                </a:lnTo>
                <a:lnTo>
                  <a:pt x="43941" y="44830"/>
                </a:lnTo>
                <a:lnTo>
                  <a:pt x="50800" y="37591"/>
                </a:lnTo>
                <a:lnTo>
                  <a:pt x="53466" y="29209"/>
                </a:lnTo>
                <a:lnTo>
                  <a:pt x="53339" y="22097"/>
                </a:lnTo>
                <a:lnTo>
                  <a:pt x="51815" y="12318"/>
                </a:lnTo>
                <a:lnTo>
                  <a:pt x="46100" y="8254"/>
                </a:lnTo>
                <a:lnTo>
                  <a:pt x="38988" y="1269"/>
                </a:lnTo>
                <a:lnTo>
                  <a:pt x="27812" y="0"/>
                </a:lnTo>
                <a:close/>
              </a:path>
            </a:pathLst>
          </a:custGeom>
          <a:solidFill>
            <a:srgbClr val="D9D9D9"/>
          </a:solidFill>
        </p:spPr>
        <p:txBody>
          <a:bodyPr wrap="square" lIns="0" tIns="0" rIns="0" bIns="0" rtlCol="0"/>
          <a:lstStyle/>
          <a:p>
            <a:endParaRPr/>
          </a:p>
        </p:txBody>
      </p:sp>
      <p:sp>
        <p:nvSpPr>
          <p:cNvPr id="127" name="object 127"/>
          <p:cNvSpPr/>
          <p:nvPr/>
        </p:nvSpPr>
        <p:spPr>
          <a:xfrm>
            <a:off x="8073136" y="2185035"/>
            <a:ext cx="118109" cy="118110"/>
          </a:xfrm>
          <a:custGeom>
            <a:avLst/>
            <a:gdLst/>
            <a:ahLst/>
            <a:cxnLst/>
            <a:rect l="l" t="t" r="r" b="b"/>
            <a:pathLst>
              <a:path w="118109" h="118110">
                <a:moveTo>
                  <a:pt x="66421" y="0"/>
                </a:moveTo>
                <a:lnTo>
                  <a:pt x="23114" y="11937"/>
                </a:lnTo>
                <a:lnTo>
                  <a:pt x="7874" y="30479"/>
                </a:lnTo>
                <a:lnTo>
                  <a:pt x="2413" y="40386"/>
                </a:lnTo>
                <a:lnTo>
                  <a:pt x="1143" y="51562"/>
                </a:lnTo>
                <a:lnTo>
                  <a:pt x="0" y="62864"/>
                </a:lnTo>
                <a:lnTo>
                  <a:pt x="2921" y="75437"/>
                </a:lnTo>
                <a:lnTo>
                  <a:pt x="31623" y="110236"/>
                </a:lnTo>
                <a:lnTo>
                  <a:pt x="64008" y="118110"/>
                </a:lnTo>
                <a:lnTo>
                  <a:pt x="76581" y="115188"/>
                </a:lnTo>
                <a:lnTo>
                  <a:pt x="84963" y="110743"/>
                </a:lnTo>
                <a:lnTo>
                  <a:pt x="96139" y="105028"/>
                </a:lnTo>
                <a:lnTo>
                  <a:pt x="103124" y="97916"/>
                </a:lnTo>
                <a:lnTo>
                  <a:pt x="111379" y="86487"/>
                </a:lnTo>
                <a:lnTo>
                  <a:pt x="116840" y="76580"/>
                </a:lnTo>
                <a:lnTo>
                  <a:pt x="118110" y="65277"/>
                </a:lnTo>
                <a:lnTo>
                  <a:pt x="117856" y="51307"/>
                </a:lnTo>
                <a:lnTo>
                  <a:pt x="116332" y="41401"/>
                </a:lnTo>
                <a:lnTo>
                  <a:pt x="110490" y="30352"/>
                </a:lnTo>
                <a:lnTo>
                  <a:pt x="106172" y="21970"/>
                </a:lnTo>
                <a:lnTo>
                  <a:pt x="97536" y="12191"/>
                </a:lnTo>
                <a:lnTo>
                  <a:pt x="77724" y="1269"/>
                </a:lnTo>
                <a:lnTo>
                  <a:pt x="66421" y="0"/>
                </a:lnTo>
                <a:close/>
              </a:path>
            </a:pathLst>
          </a:custGeom>
          <a:solidFill>
            <a:srgbClr val="D9D9D9"/>
          </a:solidFill>
        </p:spPr>
        <p:txBody>
          <a:bodyPr wrap="square" lIns="0" tIns="0" rIns="0" bIns="0" rtlCol="0"/>
          <a:lstStyle/>
          <a:p>
            <a:endParaRPr/>
          </a:p>
        </p:txBody>
      </p:sp>
      <p:sp>
        <p:nvSpPr>
          <p:cNvPr id="128" name="object 128"/>
          <p:cNvSpPr/>
          <p:nvPr/>
        </p:nvSpPr>
        <p:spPr>
          <a:xfrm>
            <a:off x="8073136" y="2185035"/>
            <a:ext cx="118109" cy="118110"/>
          </a:xfrm>
          <a:custGeom>
            <a:avLst/>
            <a:gdLst/>
            <a:ahLst/>
            <a:cxnLst/>
            <a:rect l="l" t="t" r="r" b="b"/>
            <a:pathLst>
              <a:path w="118109" h="118110">
                <a:moveTo>
                  <a:pt x="66421" y="0"/>
                </a:moveTo>
                <a:lnTo>
                  <a:pt x="23114" y="11937"/>
                </a:lnTo>
                <a:lnTo>
                  <a:pt x="7874" y="30479"/>
                </a:lnTo>
                <a:lnTo>
                  <a:pt x="2413" y="40386"/>
                </a:lnTo>
                <a:lnTo>
                  <a:pt x="1143" y="51562"/>
                </a:lnTo>
                <a:lnTo>
                  <a:pt x="0" y="62864"/>
                </a:lnTo>
                <a:lnTo>
                  <a:pt x="2921" y="75437"/>
                </a:lnTo>
                <a:lnTo>
                  <a:pt x="31623" y="110236"/>
                </a:lnTo>
                <a:lnTo>
                  <a:pt x="64008" y="118110"/>
                </a:lnTo>
                <a:lnTo>
                  <a:pt x="76581" y="115188"/>
                </a:lnTo>
                <a:lnTo>
                  <a:pt x="84963" y="110743"/>
                </a:lnTo>
                <a:lnTo>
                  <a:pt x="96139" y="105028"/>
                </a:lnTo>
                <a:lnTo>
                  <a:pt x="103124" y="97916"/>
                </a:lnTo>
                <a:lnTo>
                  <a:pt x="111379" y="86487"/>
                </a:lnTo>
                <a:lnTo>
                  <a:pt x="116840" y="76580"/>
                </a:lnTo>
                <a:lnTo>
                  <a:pt x="118110" y="65277"/>
                </a:lnTo>
                <a:lnTo>
                  <a:pt x="117856" y="51307"/>
                </a:lnTo>
                <a:lnTo>
                  <a:pt x="116332" y="41401"/>
                </a:lnTo>
                <a:lnTo>
                  <a:pt x="110490" y="30352"/>
                </a:lnTo>
                <a:lnTo>
                  <a:pt x="106172" y="21970"/>
                </a:lnTo>
                <a:lnTo>
                  <a:pt x="97536" y="12191"/>
                </a:lnTo>
                <a:lnTo>
                  <a:pt x="77724" y="1269"/>
                </a:lnTo>
                <a:lnTo>
                  <a:pt x="66421" y="0"/>
                </a:lnTo>
                <a:close/>
              </a:path>
            </a:pathLst>
          </a:custGeom>
          <a:solidFill>
            <a:srgbClr val="D9D9D9"/>
          </a:solidFill>
        </p:spPr>
        <p:txBody>
          <a:bodyPr wrap="square" lIns="0" tIns="0" rIns="0" bIns="0" rtlCol="0"/>
          <a:lstStyle/>
          <a:p>
            <a:endParaRPr/>
          </a:p>
        </p:txBody>
      </p:sp>
      <p:sp>
        <p:nvSpPr>
          <p:cNvPr id="129" name="object 129"/>
          <p:cNvSpPr/>
          <p:nvPr/>
        </p:nvSpPr>
        <p:spPr>
          <a:xfrm>
            <a:off x="8272652" y="2291969"/>
            <a:ext cx="107314" cy="107314"/>
          </a:xfrm>
          <a:custGeom>
            <a:avLst/>
            <a:gdLst/>
            <a:ahLst/>
            <a:cxnLst/>
            <a:rect l="l" t="t" r="r" b="b"/>
            <a:pathLst>
              <a:path w="107315" h="107314">
                <a:moveTo>
                  <a:pt x="49911" y="0"/>
                </a:moveTo>
                <a:lnTo>
                  <a:pt x="13589" y="18795"/>
                </a:lnTo>
                <a:lnTo>
                  <a:pt x="5461" y="37210"/>
                </a:lnTo>
                <a:lnTo>
                  <a:pt x="0" y="47116"/>
                </a:lnTo>
                <a:lnTo>
                  <a:pt x="3048" y="66801"/>
                </a:lnTo>
                <a:lnTo>
                  <a:pt x="8890" y="77977"/>
                </a:lnTo>
                <a:lnTo>
                  <a:pt x="13207" y="86359"/>
                </a:lnTo>
                <a:lnTo>
                  <a:pt x="20320" y="93217"/>
                </a:lnTo>
                <a:lnTo>
                  <a:pt x="27431" y="100202"/>
                </a:lnTo>
                <a:lnTo>
                  <a:pt x="40131" y="104139"/>
                </a:lnTo>
                <a:lnTo>
                  <a:pt x="48641" y="106933"/>
                </a:lnTo>
                <a:lnTo>
                  <a:pt x="58420" y="105282"/>
                </a:lnTo>
                <a:lnTo>
                  <a:pt x="68325" y="103758"/>
                </a:lnTo>
                <a:lnTo>
                  <a:pt x="87883" y="93598"/>
                </a:lnTo>
                <a:lnTo>
                  <a:pt x="94866" y="86359"/>
                </a:lnTo>
                <a:lnTo>
                  <a:pt x="101726" y="79375"/>
                </a:lnTo>
                <a:lnTo>
                  <a:pt x="102870" y="68071"/>
                </a:lnTo>
                <a:lnTo>
                  <a:pt x="105537" y="59689"/>
                </a:lnTo>
                <a:lnTo>
                  <a:pt x="106806" y="48386"/>
                </a:lnTo>
                <a:lnTo>
                  <a:pt x="88011" y="12064"/>
                </a:lnTo>
                <a:lnTo>
                  <a:pt x="61214" y="1269"/>
                </a:lnTo>
                <a:lnTo>
                  <a:pt x="49911" y="0"/>
                </a:lnTo>
                <a:close/>
              </a:path>
            </a:pathLst>
          </a:custGeom>
          <a:solidFill>
            <a:srgbClr val="D9D9D9"/>
          </a:solidFill>
        </p:spPr>
        <p:txBody>
          <a:bodyPr wrap="square" lIns="0" tIns="0" rIns="0" bIns="0" rtlCol="0"/>
          <a:lstStyle/>
          <a:p>
            <a:endParaRPr/>
          </a:p>
        </p:txBody>
      </p:sp>
      <p:sp>
        <p:nvSpPr>
          <p:cNvPr id="130" name="object 130"/>
          <p:cNvSpPr/>
          <p:nvPr/>
        </p:nvSpPr>
        <p:spPr>
          <a:xfrm>
            <a:off x="8272652" y="2291969"/>
            <a:ext cx="107314" cy="107314"/>
          </a:xfrm>
          <a:custGeom>
            <a:avLst/>
            <a:gdLst/>
            <a:ahLst/>
            <a:cxnLst/>
            <a:rect l="l" t="t" r="r" b="b"/>
            <a:pathLst>
              <a:path w="107315" h="107314">
                <a:moveTo>
                  <a:pt x="49911" y="0"/>
                </a:moveTo>
                <a:lnTo>
                  <a:pt x="13589" y="18795"/>
                </a:lnTo>
                <a:lnTo>
                  <a:pt x="5461" y="37210"/>
                </a:lnTo>
                <a:lnTo>
                  <a:pt x="0" y="47116"/>
                </a:lnTo>
                <a:lnTo>
                  <a:pt x="3048" y="66801"/>
                </a:lnTo>
                <a:lnTo>
                  <a:pt x="8890" y="77977"/>
                </a:lnTo>
                <a:lnTo>
                  <a:pt x="13207" y="86359"/>
                </a:lnTo>
                <a:lnTo>
                  <a:pt x="20320" y="93217"/>
                </a:lnTo>
                <a:lnTo>
                  <a:pt x="27431" y="100202"/>
                </a:lnTo>
                <a:lnTo>
                  <a:pt x="40131" y="104139"/>
                </a:lnTo>
                <a:lnTo>
                  <a:pt x="48641" y="106933"/>
                </a:lnTo>
                <a:lnTo>
                  <a:pt x="58420" y="105282"/>
                </a:lnTo>
                <a:lnTo>
                  <a:pt x="68325" y="103758"/>
                </a:lnTo>
                <a:lnTo>
                  <a:pt x="87883" y="93598"/>
                </a:lnTo>
                <a:lnTo>
                  <a:pt x="94866" y="86359"/>
                </a:lnTo>
                <a:lnTo>
                  <a:pt x="101726" y="79375"/>
                </a:lnTo>
                <a:lnTo>
                  <a:pt x="102870" y="68071"/>
                </a:lnTo>
                <a:lnTo>
                  <a:pt x="105537" y="59689"/>
                </a:lnTo>
                <a:lnTo>
                  <a:pt x="106806" y="48386"/>
                </a:lnTo>
                <a:lnTo>
                  <a:pt x="88011" y="12064"/>
                </a:lnTo>
                <a:lnTo>
                  <a:pt x="61214" y="1269"/>
                </a:lnTo>
                <a:lnTo>
                  <a:pt x="49911" y="0"/>
                </a:lnTo>
                <a:close/>
              </a:path>
            </a:pathLst>
          </a:custGeom>
          <a:solidFill>
            <a:srgbClr val="D9D9D9"/>
          </a:solidFill>
        </p:spPr>
        <p:txBody>
          <a:bodyPr wrap="square" lIns="0" tIns="0" rIns="0" bIns="0" rtlCol="0"/>
          <a:lstStyle/>
          <a:p>
            <a:endParaRPr/>
          </a:p>
        </p:txBody>
      </p:sp>
      <p:sp>
        <p:nvSpPr>
          <p:cNvPr id="131" name="object 131"/>
          <p:cNvSpPr/>
          <p:nvPr/>
        </p:nvSpPr>
        <p:spPr>
          <a:xfrm>
            <a:off x="8453247" y="2431289"/>
            <a:ext cx="95885" cy="95885"/>
          </a:xfrm>
          <a:custGeom>
            <a:avLst/>
            <a:gdLst/>
            <a:ahLst/>
            <a:cxnLst/>
            <a:rect l="l" t="t" r="r" b="b"/>
            <a:pathLst>
              <a:path w="95884" h="95885">
                <a:moveTo>
                  <a:pt x="51307" y="0"/>
                </a:moveTo>
                <a:lnTo>
                  <a:pt x="10795" y="17399"/>
                </a:lnTo>
                <a:lnTo>
                  <a:pt x="0" y="44323"/>
                </a:lnTo>
                <a:lnTo>
                  <a:pt x="0" y="51308"/>
                </a:lnTo>
                <a:lnTo>
                  <a:pt x="23113" y="89026"/>
                </a:lnTo>
                <a:lnTo>
                  <a:pt x="44323" y="95631"/>
                </a:lnTo>
                <a:lnTo>
                  <a:pt x="51307" y="95631"/>
                </a:lnTo>
                <a:lnTo>
                  <a:pt x="88900" y="72516"/>
                </a:lnTo>
                <a:lnTo>
                  <a:pt x="95630" y="51308"/>
                </a:lnTo>
                <a:lnTo>
                  <a:pt x="95503" y="44323"/>
                </a:lnTo>
                <a:lnTo>
                  <a:pt x="72517" y="6731"/>
                </a:lnTo>
                <a:lnTo>
                  <a:pt x="51307" y="0"/>
                </a:lnTo>
                <a:close/>
              </a:path>
            </a:pathLst>
          </a:custGeom>
          <a:solidFill>
            <a:srgbClr val="D9D9D9"/>
          </a:solidFill>
        </p:spPr>
        <p:txBody>
          <a:bodyPr wrap="square" lIns="0" tIns="0" rIns="0" bIns="0" rtlCol="0"/>
          <a:lstStyle/>
          <a:p>
            <a:endParaRPr/>
          </a:p>
        </p:txBody>
      </p:sp>
      <p:sp>
        <p:nvSpPr>
          <p:cNvPr id="132" name="object 132"/>
          <p:cNvSpPr/>
          <p:nvPr/>
        </p:nvSpPr>
        <p:spPr>
          <a:xfrm>
            <a:off x="8453247" y="2431289"/>
            <a:ext cx="95885" cy="95885"/>
          </a:xfrm>
          <a:custGeom>
            <a:avLst/>
            <a:gdLst/>
            <a:ahLst/>
            <a:cxnLst/>
            <a:rect l="l" t="t" r="r" b="b"/>
            <a:pathLst>
              <a:path w="95884" h="95885">
                <a:moveTo>
                  <a:pt x="51307" y="0"/>
                </a:moveTo>
                <a:lnTo>
                  <a:pt x="10795" y="17399"/>
                </a:lnTo>
                <a:lnTo>
                  <a:pt x="0" y="44323"/>
                </a:lnTo>
                <a:lnTo>
                  <a:pt x="0" y="51308"/>
                </a:lnTo>
                <a:lnTo>
                  <a:pt x="23113" y="89026"/>
                </a:lnTo>
                <a:lnTo>
                  <a:pt x="44323" y="95631"/>
                </a:lnTo>
                <a:lnTo>
                  <a:pt x="51307" y="95631"/>
                </a:lnTo>
                <a:lnTo>
                  <a:pt x="88900" y="72516"/>
                </a:lnTo>
                <a:lnTo>
                  <a:pt x="95630" y="51308"/>
                </a:lnTo>
                <a:lnTo>
                  <a:pt x="95503" y="44323"/>
                </a:lnTo>
                <a:lnTo>
                  <a:pt x="72517" y="6731"/>
                </a:lnTo>
                <a:lnTo>
                  <a:pt x="51307" y="0"/>
                </a:lnTo>
                <a:close/>
              </a:path>
            </a:pathLst>
          </a:custGeom>
          <a:solidFill>
            <a:srgbClr val="D9D9D9"/>
          </a:solidFill>
        </p:spPr>
        <p:txBody>
          <a:bodyPr wrap="square" lIns="0" tIns="0" rIns="0" bIns="0" rtlCol="0"/>
          <a:lstStyle/>
          <a:p>
            <a:endParaRPr/>
          </a:p>
        </p:txBody>
      </p:sp>
      <p:sp>
        <p:nvSpPr>
          <p:cNvPr id="133" name="object 133"/>
          <p:cNvSpPr/>
          <p:nvPr/>
        </p:nvSpPr>
        <p:spPr>
          <a:xfrm>
            <a:off x="8604758" y="2599309"/>
            <a:ext cx="88900" cy="84455"/>
          </a:xfrm>
          <a:custGeom>
            <a:avLst/>
            <a:gdLst/>
            <a:ahLst/>
            <a:cxnLst/>
            <a:rect l="l" t="t" r="r" b="b"/>
            <a:pathLst>
              <a:path w="88900" h="84455">
                <a:moveTo>
                  <a:pt x="40005" y="0"/>
                </a:moveTo>
                <a:lnTo>
                  <a:pt x="24638" y="4444"/>
                </a:lnTo>
                <a:lnTo>
                  <a:pt x="12192" y="14477"/>
                </a:lnTo>
                <a:lnTo>
                  <a:pt x="2540" y="30099"/>
                </a:lnTo>
                <a:lnTo>
                  <a:pt x="0" y="45592"/>
                </a:lnTo>
                <a:lnTo>
                  <a:pt x="4445" y="60960"/>
                </a:lnTo>
                <a:lnTo>
                  <a:pt x="15875" y="76200"/>
                </a:lnTo>
                <a:lnTo>
                  <a:pt x="29972" y="83057"/>
                </a:lnTo>
                <a:lnTo>
                  <a:pt x="48260" y="84200"/>
                </a:lnTo>
                <a:lnTo>
                  <a:pt x="63753" y="79755"/>
                </a:lnTo>
                <a:lnTo>
                  <a:pt x="76200" y="69723"/>
                </a:lnTo>
                <a:lnTo>
                  <a:pt x="85851" y="54101"/>
                </a:lnTo>
                <a:lnTo>
                  <a:pt x="88392" y="38607"/>
                </a:lnTo>
                <a:lnTo>
                  <a:pt x="82550" y="20446"/>
                </a:lnTo>
                <a:lnTo>
                  <a:pt x="72517" y="7874"/>
                </a:lnTo>
                <a:lnTo>
                  <a:pt x="58293" y="1142"/>
                </a:lnTo>
                <a:lnTo>
                  <a:pt x="40005" y="0"/>
                </a:lnTo>
                <a:close/>
              </a:path>
            </a:pathLst>
          </a:custGeom>
          <a:solidFill>
            <a:srgbClr val="D9D9D9"/>
          </a:solidFill>
        </p:spPr>
        <p:txBody>
          <a:bodyPr wrap="square" lIns="0" tIns="0" rIns="0" bIns="0" rtlCol="0"/>
          <a:lstStyle/>
          <a:p>
            <a:endParaRPr/>
          </a:p>
        </p:txBody>
      </p:sp>
      <p:sp>
        <p:nvSpPr>
          <p:cNvPr id="134" name="object 134"/>
          <p:cNvSpPr/>
          <p:nvPr/>
        </p:nvSpPr>
        <p:spPr>
          <a:xfrm>
            <a:off x="8604758" y="2599309"/>
            <a:ext cx="88900" cy="84455"/>
          </a:xfrm>
          <a:custGeom>
            <a:avLst/>
            <a:gdLst/>
            <a:ahLst/>
            <a:cxnLst/>
            <a:rect l="l" t="t" r="r" b="b"/>
            <a:pathLst>
              <a:path w="88900" h="84455">
                <a:moveTo>
                  <a:pt x="40005" y="0"/>
                </a:moveTo>
                <a:lnTo>
                  <a:pt x="24638" y="4444"/>
                </a:lnTo>
                <a:lnTo>
                  <a:pt x="12192" y="14477"/>
                </a:lnTo>
                <a:lnTo>
                  <a:pt x="2540" y="30099"/>
                </a:lnTo>
                <a:lnTo>
                  <a:pt x="0" y="45592"/>
                </a:lnTo>
                <a:lnTo>
                  <a:pt x="4445" y="60960"/>
                </a:lnTo>
                <a:lnTo>
                  <a:pt x="15875" y="76200"/>
                </a:lnTo>
                <a:lnTo>
                  <a:pt x="29972" y="83057"/>
                </a:lnTo>
                <a:lnTo>
                  <a:pt x="48260" y="84200"/>
                </a:lnTo>
                <a:lnTo>
                  <a:pt x="63753" y="79755"/>
                </a:lnTo>
                <a:lnTo>
                  <a:pt x="76200" y="69723"/>
                </a:lnTo>
                <a:lnTo>
                  <a:pt x="85851" y="54101"/>
                </a:lnTo>
                <a:lnTo>
                  <a:pt x="88392" y="38607"/>
                </a:lnTo>
                <a:lnTo>
                  <a:pt x="82550" y="20446"/>
                </a:lnTo>
                <a:lnTo>
                  <a:pt x="72517" y="7874"/>
                </a:lnTo>
                <a:lnTo>
                  <a:pt x="58293" y="1142"/>
                </a:lnTo>
                <a:lnTo>
                  <a:pt x="40005" y="0"/>
                </a:lnTo>
                <a:close/>
              </a:path>
            </a:pathLst>
          </a:custGeom>
          <a:solidFill>
            <a:srgbClr val="D9D9D9"/>
          </a:solidFill>
        </p:spPr>
        <p:txBody>
          <a:bodyPr wrap="square" lIns="0" tIns="0" rIns="0" bIns="0" rtlCol="0"/>
          <a:lstStyle/>
          <a:p>
            <a:endParaRPr/>
          </a:p>
        </p:txBody>
      </p:sp>
      <p:sp>
        <p:nvSpPr>
          <p:cNvPr id="135" name="object 135"/>
          <p:cNvSpPr/>
          <p:nvPr/>
        </p:nvSpPr>
        <p:spPr>
          <a:xfrm>
            <a:off x="8728077" y="2788540"/>
            <a:ext cx="76834" cy="76200"/>
          </a:xfrm>
          <a:custGeom>
            <a:avLst/>
            <a:gdLst/>
            <a:ahLst/>
            <a:cxnLst/>
            <a:rect l="l" t="t" r="r" b="b"/>
            <a:pathLst>
              <a:path w="76834" h="76200">
                <a:moveTo>
                  <a:pt x="50292" y="0"/>
                </a:moveTo>
                <a:lnTo>
                  <a:pt x="36195" y="126"/>
                </a:lnTo>
                <a:lnTo>
                  <a:pt x="20827" y="4572"/>
                </a:lnTo>
                <a:lnTo>
                  <a:pt x="11049" y="13208"/>
                </a:lnTo>
                <a:lnTo>
                  <a:pt x="0" y="26035"/>
                </a:lnTo>
                <a:lnTo>
                  <a:pt x="253" y="40005"/>
                </a:lnTo>
                <a:lnTo>
                  <a:pt x="4699" y="55499"/>
                </a:lnTo>
                <a:lnTo>
                  <a:pt x="14731" y="67945"/>
                </a:lnTo>
                <a:lnTo>
                  <a:pt x="26034" y="76200"/>
                </a:lnTo>
                <a:lnTo>
                  <a:pt x="42925" y="74549"/>
                </a:lnTo>
                <a:lnTo>
                  <a:pt x="55499" y="71500"/>
                </a:lnTo>
                <a:lnTo>
                  <a:pt x="68072" y="61595"/>
                </a:lnTo>
                <a:lnTo>
                  <a:pt x="76326" y="50164"/>
                </a:lnTo>
                <a:lnTo>
                  <a:pt x="76073" y="36068"/>
                </a:lnTo>
                <a:lnTo>
                  <a:pt x="71627" y="20700"/>
                </a:lnTo>
                <a:lnTo>
                  <a:pt x="61595" y="8255"/>
                </a:lnTo>
                <a:lnTo>
                  <a:pt x="50292" y="0"/>
                </a:lnTo>
                <a:close/>
              </a:path>
            </a:pathLst>
          </a:custGeom>
          <a:solidFill>
            <a:srgbClr val="D9D9D9"/>
          </a:solidFill>
        </p:spPr>
        <p:txBody>
          <a:bodyPr wrap="square" lIns="0" tIns="0" rIns="0" bIns="0" rtlCol="0"/>
          <a:lstStyle/>
          <a:p>
            <a:endParaRPr/>
          </a:p>
        </p:txBody>
      </p:sp>
      <p:sp>
        <p:nvSpPr>
          <p:cNvPr id="136" name="object 136"/>
          <p:cNvSpPr/>
          <p:nvPr/>
        </p:nvSpPr>
        <p:spPr>
          <a:xfrm>
            <a:off x="8728077" y="2788540"/>
            <a:ext cx="76834" cy="76200"/>
          </a:xfrm>
          <a:custGeom>
            <a:avLst/>
            <a:gdLst/>
            <a:ahLst/>
            <a:cxnLst/>
            <a:rect l="l" t="t" r="r" b="b"/>
            <a:pathLst>
              <a:path w="76834" h="76200">
                <a:moveTo>
                  <a:pt x="50292" y="0"/>
                </a:moveTo>
                <a:lnTo>
                  <a:pt x="36195" y="126"/>
                </a:lnTo>
                <a:lnTo>
                  <a:pt x="20827" y="4572"/>
                </a:lnTo>
                <a:lnTo>
                  <a:pt x="11049" y="13208"/>
                </a:lnTo>
                <a:lnTo>
                  <a:pt x="0" y="26035"/>
                </a:lnTo>
                <a:lnTo>
                  <a:pt x="253" y="40005"/>
                </a:lnTo>
                <a:lnTo>
                  <a:pt x="4699" y="55499"/>
                </a:lnTo>
                <a:lnTo>
                  <a:pt x="14731" y="67945"/>
                </a:lnTo>
                <a:lnTo>
                  <a:pt x="26034" y="76200"/>
                </a:lnTo>
                <a:lnTo>
                  <a:pt x="42925" y="74549"/>
                </a:lnTo>
                <a:lnTo>
                  <a:pt x="55499" y="71500"/>
                </a:lnTo>
                <a:lnTo>
                  <a:pt x="68072" y="61595"/>
                </a:lnTo>
                <a:lnTo>
                  <a:pt x="76326" y="50164"/>
                </a:lnTo>
                <a:lnTo>
                  <a:pt x="76073" y="36068"/>
                </a:lnTo>
                <a:lnTo>
                  <a:pt x="71627" y="20700"/>
                </a:lnTo>
                <a:lnTo>
                  <a:pt x="61595" y="8255"/>
                </a:lnTo>
                <a:lnTo>
                  <a:pt x="50292" y="0"/>
                </a:lnTo>
                <a:close/>
              </a:path>
            </a:pathLst>
          </a:custGeom>
          <a:solidFill>
            <a:srgbClr val="D9D9D9"/>
          </a:solidFill>
        </p:spPr>
        <p:txBody>
          <a:bodyPr wrap="square" lIns="0" tIns="0" rIns="0" bIns="0" rtlCol="0"/>
          <a:lstStyle/>
          <a:p>
            <a:endParaRPr/>
          </a:p>
        </p:txBody>
      </p:sp>
      <p:sp>
        <p:nvSpPr>
          <p:cNvPr id="137" name="object 137"/>
          <p:cNvSpPr/>
          <p:nvPr/>
        </p:nvSpPr>
        <p:spPr>
          <a:xfrm>
            <a:off x="8815706" y="2994151"/>
            <a:ext cx="69215" cy="70485"/>
          </a:xfrm>
          <a:custGeom>
            <a:avLst/>
            <a:gdLst/>
            <a:ahLst/>
            <a:cxnLst/>
            <a:rect l="l" t="t" r="r" b="b"/>
            <a:pathLst>
              <a:path w="69215" h="70485">
                <a:moveTo>
                  <a:pt x="30352" y="0"/>
                </a:moveTo>
                <a:lnTo>
                  <a:pt x="19176" y="5714"/>
                </a:lnTo>
                <a:lnTo>
                  <a:pt x="8000" y="11557"/>
                </a:lnTo>
                <a:lnTo>
                  <a:pt x="1270" y="25653"/>
                </a:lnTo>
                <a:lnTo>
                  <a:pt x="0" y="36957"/>
                </a:lnTo>
                <a:lnTo>
                  <a:pt x="4445" y="52324"/>
                </a:lnTo>
                <a:lnTo>
                  <a:pt x="12953" y="62102"/>
                </a:lnTo>
                <a:lnTo>
                  <a:pt x="22860" y="67563"/>
                </a:lnTo>
                <a:lnTo>
                  <a:pt x="38480" y="70103"/>
                </a:lnTo>
                <a:lnTo>
                  <a:pt x="51053" y="67183"/>
                </a:lnTo>
                <a:lnTo>
                  <a:pt x="60705" y="58547"/>
                </a:lnTo>
                <a:lnTo>
                  <a:pt x="67564" y="44450"/>
                </a:lnTo>
                <a:lnTo>
                  <a:pt x="68834" y="33147"/>
                </a:lnTo>
                <a:lnTo>
                  <a:pt x="65786" y="20574"/>
                </a:lnTo>
                <a:lnTo>
                  <a:pt x="55752" y="8000"/>
                </a:lnTo>
                <a:lnTo>
                  <a:pt x="45847" y="2539"/>
                </a:lnTo>
                <a:lnTo>
                  <a:pt x="30352" y="0"/>
                </a:lnTo>
                <a:close/>
              </a:path>
            </a:pathLst>
          </a:custGeom>
          <a:solidFill>
            <a:srgbClr val="D9D9D9"/>
          </a:solidFill>
        </p:spPr>
        <p:txBody>
          <a:bodyPr wrap="square" lIns="0" tIns="0" rIns="0" bIns="0" rtlCol="0"/>
          <a:lstStyle/>
          <a:p>
            <a:endParaRPr/>
          </a:p>
        </p:txBody>
      </p:sp>
      <p:sp>
        <p:nvSpPr>
          <p:cNvPr id="138" name="object 138"/>
          <p:cNvSpPr/>
          <p:nvPr/>
        </p:nvSpPr>
        <p:spPr>
          <a:xfrm>
            <a:off x="8815706" y="2994151"/>
            <a:ext cx="69215" cy="70485"/>
          </a:xfrm>
          <a:custGeom>
            <a:avLst/>
            <a:gdLst/>
            <a:ahLst/>
            <a:cxnLst/>
            <a:rect l="l" t="t" r="r" b="b"/>
            <a:pathLst>
              <a:path w="69215" h="70485">
                <a:moveTo>
                  <a:pt x="30352" y="0"/>
                </a:moveTo>
                <a:lnTo>
                  <a:pt x="19176" y="5714"/>
                </a:lnTo>
                <a:lnTo>
                  <a:pt x="8000" y="11557"/>
                </a:lnTo>
                <a:lnTo>
                  <a:pt x="1270" y="25653"/>
                </a:lnTo>
                <a:lnTo>
                  <a:pt x="0" y="36957"/>
                </a:lnTo>
                <a:lnTo>
                  <a:pt x="4445" y="52324"/>
                </a:lnTo>
                <a:lnTo>
                  <a:pt x="12953" y="62102"/>
                </a:lnTo>
                <a:lnTo>
                  <a:pt x="22860" y="67563"/>
                </a:lnTo>
                <a:lnTo>
                  <a:pt x="38480" y="70103"/>
                </a:lnTo>
                <a:lnTo>
                  <a:pt x="51053" y="67183"/>
                </a:lnTo>
                <a:lnTo>
                  <a:pt x="60705" y="58547"/>
                </a:lnTo>
                <a:lnTo>
                  <a:pt x="67564" y="44450"/>
                </a:lnTo>
                <a:lnTo>
                  <a:pt x="68834" y="33147"/>
                </a:lnTo>
                <a:lnTo>
                  <a:pt x="65786" y="20574"/>
                </a:lnTo>
                <a:lnTo>
                  <a:pt x="55752" y="8000"/>
                </a:lnTo>
                <a:lnTo>
                  <a:pt x="45847" y="2539"/>
                </a:lnTo>
                <a:lnTo>
                  <a:pt x="30352" y="0"/>
                </a:lnTo>
                <a:close/>
              </a:path>
            </a:pathLst>
          </a:custGeom>
          <a:solidFill>
            <a:srgbClr val="D9D9D9"/>
          </a:solidFill>
        </p:spPr>
        <p:txBody>
          <a:bodyPr wrap="square" lIns="0" tIns="0" rIns="0" bIns="0" rtlCol="0"/>
          <a:lstStyle/>
          <a:p>
            <a:endParaRPr/>
          </a:p>
        </p:txBody>
      </p:sp>
      <p:sp>
        <p:nvSpPr>
          <p:cNvPr id="139" name="object 139"/>
          <p:cNvSpPr/>
          <p:nvPr/>
        </p:nvSpPr>
        <p:spPr>
          <a:xfrm>
            <a:off x="8866631" y="3212719"/>
            <a:ext cx="62230" cy="62230"/>
          </a:xfrm>
          <a:custGeom>
            <a:avLst/>
            <a:gdLst/>
            <a:ahLst/>
            <a:cxnLst/>
            <a:rect l="l" t="t" r="r" b="b"/>
            <a:pathLst>
              <a:path w="62229" h="62229">
                <a:moveTo>
                  <a:pt x="29083" y="0"/>
                </a:moveTo>
                <a:lnTo>
                  <a:pt x="16510" y="2920"/>
                </a:lnTo>
                <a:lnTo>
                  <a:pt x="6731" y="11556"/>
                </a:lnTo>
                <a:lnTo>
                  <a:pt x="1270" y="21462"/>
                </a:lnTo>
                <a:lnTo>
                  <a:pt x="0" y="32765"/>
                </a:lnTo>
                <a:lnTo>
                  <a:pt x="3048" y="45338"/>
                </a:lnTo>
                <a:lnTo>
                  <a:pt x="11557" y="54990"/>
                </a:lnTo>
                <a:lnTo>
                  <a:pt x="21463" y="60578"/>
                </a:lnTo>
                <a:lnTo>
                  <a:pt x="32766" y="61721"/>
                </a:lnTo>
                <a:lnTo>
                  <a:pt x="45339" y="58800"/>
                </a:lnTo>
                <a:lnTo>
                  <a:pt x="55118" y="50164"/>
                </a:lnTo>
                <a:lnTo>
                  <a:pt x="60578" y="40258"/>
                </a:lnTo>
                <a:lnTo>
                  <a:pt x="61849" y="28955"/>
                </a:lnTo>
                <a:lnTo>
                  <a:pt x="58800" y="16382"/>
                </a:lnTo>
                <a:lnTo>
                  <a:pt x="50292" y="6730"/>
                </a:lnTo>
                <a:lnTo>
                  <a:pt x="40259" y="1142"/>
                </a:lnTo>
                <a:lnTo>
                  <a:pt x="29083" y="0"/>
                </a:lnTo>
                <a:close/>
              </a:path>
            </a:pathLst>
          </a:custGeom>
          <a:solidFill>
            <a:srgbClr val="D9D9D9"/>
          </a:solidFill>
        </p:spPr>
        <p:txBody>
          <a:bodyPr wrap="square" lIns="0" tIns="0" rIns="0" bIns="0" rtlCol="0"/>
          <a:lstStyle/>
          <a:p>
            <a:endParaRPr/>
          </a:p>
        </p:txBody>
      </p:sp>
      <p:sp>
        <p:nvSpPr>
          <p:cNvPr id="140" name="object 140"/>
          <p:cNvSpPr/>
          <p:nvPr/>
        </p:nvSpPr>
        <p:spPr>
          <a:xfrm>
            <a:off x="8866631" y="3212719"/>
            <a:ext cx="62230" cy="62230"/>
          </a:xfrm>
          <a:custGeom>
            <a:avLst/>
            <a:gdLst/>
            <a:ahLst/>
            <a:cxnLst/>
            <a:rect l="l" t="t" r="r" b="b"/>
            <a:pathLst>
              <a:path w="62229" h="62229">
                <a:moveTo>
                  <a:pt x="29083" y="0"/>
                </a:moveTo>
                <a:lnTo>
                  <a:pt x="16510" y="2920"/>
                </a:lnTo>
                <a:lnTo>
                  <a:pt x="6731" y="11556"/>
                </a:lnTo>
                <a:lnTo>
                  <a:pt x="1270" y="21462"/>
                </a:lnTo>
                <a:lnTo>
                  <a:pt x="0" y="32765"/>
                </a:lnTo>
                <a:lnTo>
                  <a:pt x="3048" y="45338"/>
                </a:lnTo>
                <a:lnTo>
                  <a:pt x="11557" y="54990"/>
                </a:lnTo>
                <a:lnTo>
                  <a:pt x="21463" y="60578"/>
                </a:lnTo>
                <a:lnTo>
                  <a:pt x="32766" y="61721"/>
                </a:lnTo>
                <a:lnTo>
                  <a:pt x="45339" y="58800"/>
                </a:lnTo>
                <a:lnTo>
                  <a:pt x="55118" y="50164"/>
                </a:lnTo>
                <a:lnTo>
                  <a:pt x="60578" y="40258"/>
                </a:lnTo>
                <a:lnTo>
                  <a:pt x="61849" y="28955"/>
                </a:lnTo>
                <a:lnTo>
                  <a:pt x="58800" y="16382"/>
                </a:lnTo>
                <a:lnTo>
                  <a:pt x="50292" y="6730"/>
                </a:lnTo>
                <a:lnTo>
                  <a:pt x="40259" y="1142"/>
                </a:lnTo>
                <a:lnTo>
                  <a:pt x="29083" y="0"/>
                </a:lnTo>
                <a:close/>
              </a:path>
            </a:pathLst>
          </a:custGeom>
          <a:solidFill>
            <a:srgbClr val="D9D9D9"/>
          </a:solidFill>
        </p:spPr>
        <p:txBody>
          <a:bodyPr wrap="square" lIns="0" tIns="0" rIns="0" bIns="0" rtlCol="0"/>
          <a:lstStyle/>
          <a:p>
            <a:endParaRPr/>
          </a:p>
        </p:txBody>
      </p:sp>
      <p:sp>
        <p:nvSpPr>
          <p:cNvPr id="141" name="object 141"/>
          <p:cNvSpPr/>
          <p:nvPr/>
        </p:nvSpPr>
        <p:spPr>
          <a:xfrm>
            <a:off x="8878318" y="3434716"/>
            <a:ext cx="57785" cy="57785"/>
          </a:xfrm>
          <a:custGeom>
            <a:avLst/>
            <a:gdLst/>
            <a:ahLst/>
            <a:cxnLst/>
            <a:rect l="l" t="t" r="r" b="b"/>
            <a:pathLst>
              <a:path w="57784" h="57785">
                <a:moveTo>
                  <a:pt x="26288" y="0"/>
                </a:moveTo>
                <a:lnTo>
                  <a:pt x="13715" y="2921"/>
                </a:lnTo>
                <a:lnTo>
                  <a:pt x="6730" y="10033"/>
                </a:lnTo>
                <a:lnTo>
                  <a:pt x="1269" y="19938"/>
                </a:lnTo>
                <a:lnTo>
                  <a:pt x="0" y="31242"/>
                </a:lnTo>
                <a:lnTo>
                  <a:pt x="4444" y="39624"/>
                </a:lnTo>
                <a:lnTo>
                  <a:pt x="10159" y="50800"/>
                </a:lnTo>
                <a:lnTo>
                  <a:pt x="20065" y="56261"/>
                </a:lnTo>
                <a:lnTo>
                  <a:pt x="31368" y="57531"/>
                </a:lnTo>
                <a:lnTo>
                  <a:pt x="50926" y="47371"/>
                </a:lnTo>
                <a:lnTo>
                  <a:pt x="56387" y="37464"/>
                </a:lnTo>
                <a:lnTo>
                  <a:pt x="57657" y="26162"/>
                </a:lnTo>
                <a:lnTo>
                  <a:pt x="51815" y="14986"/>
                </a:lnTo>
                <a:lnTo>
                  <a:pt x="47498" y="6604"/>
                </a:lnTo>
                <a:lnTo>
                  <a:pt x="37591" y="1143"/>
                </a:lnTo>
                <a:lnTo>
                  <a:pt x="26288" y="0"/>
                </a:lnTo>
                <a:close/>
              </a:path>
            </a:pathLst>
          </a:custGeom>
          <a:solidFill>
            <a:srgbClr val="D9D9D9"/>
          </a:solidFill>
        </p:spPr>
        <p:txBody>
          <a:bodyPr wrap="square" lIns="0" tIns="0" rIns="0" bIns="0" rtlCol="0"/>
          <a:lstStyle/>
          <a:p>
            <a:endParaRPr/>
          </a:p>
        </p:txBody>
      </p:sp>
      <p:sp>
        <p:nvSpPr>
          <p:cNvPr id="142" name="object 142"/>
          <p:cNvSpPr/>
          <p:nvPr/>
        </p:nvSpPr>
        <p:spPr>
          <a:xfrm>
            <a:off x="8878318" y="3434716"/>
            <a:ext cx="57785" cy="57785"/>
          </a:xfrm>
          <a:custGeom>
            <a:avLst/>
            <a:gdLst/>
            <a:ahLst/>
            <a:cxnLst/>
            <a:rect l="l" t="t" r="r" b="b"/>
            <a:pathLst>
              <a:path w="57784" h="57785">
                <a:moveTo>
                  <a:pt x="26288" y="0"/>
                </a:moveTo>
                <a:lnTo>
                  <a:pt x="13715" y="2921"/>
                </a:lnTo>
                <a:lnTo>
                  <a:pt x="6730" y="10033"/>
                </a:lnTo>
                <a:lnTo>
                  <a:pt x="1269" y="19938"/>
                </a:lnTo>
                <a:lnTo>
                  <a:pt x="0" y="31242"/>
                </a:lnTo>
                <a:lnTo>
                  <a:pt x="4444" y="39624"/>
                </a:lnTo>
                <a:lnTo>
                  <a:pt x="10159" y="50800"/>
                </a:lnTo>
                <a:lnTo>
                  <a:pt x="20065" y="56261"/>
                </a:lnTo>
                <a:lnTo>
                  <a:pt x="31368" y="57531"/>
                </a:lnTo>
                <a:lnTo>
                  <a:pt x="50926" y="47371"/>
                </a:lnTo>
                <a:lnTo>
                  <a:pt x="56387" y="37464"/>
                </a:lnTo>
                <a:lnTo>
                  <a:pt x="57657" y="26162"/>
                </a:lnTo>
                <a:lnTo>
                  <a:pt x="51815" y="14986"/>
                </a:lnTo>
                <a:lnTo>
                  <a:pt x="47498" y="6604"/>
                </a:lnTo>
                <a:lnTo>
                  <a:pt x="37591" y="1143"/>
                </a:lnTo>
                <a:lnTo>
                  <a:pt x="26288" y="0"/>
                </a:lnTo>
                <a:close/>
              </a:path>
            </a:pathLst>
          </a:custGeom>
          <a:solidFill>
            <a:srgbClr val="D9D9D9"/>
          </a:solidFill>
        </p:spPr>
        <p:txBody>
          <a:bodyPr wrap="square" lIns="0" tIns="0" rIns="0" bIns="0" rtlCol="0"/>
          <a:lstStyle/>
          <a:p>
            <a:endParaRPr/>
          </a:p>
        </p:txBody>
      </p:sp>
      <p:sp>
        <p:nvSpPr>
          <p:cNvPr id="143" name="object 143"/>
          <p:cNvSpPr/>
          <p:nvPr/>
        </p:nvSpPr>
        <p:spPr>
          <a:xfrm>
            <a:off x="8853552" y="3655821"/>
            <a:ext cx="50800" cy="50800"/>
          </a:xfrm>
          <a:custGeom>
            <a:avLst/>
            <a:gdLst/>
            <a:ahLst/>
            <a:cxnLst/>
            <a:rect l="l" t="t" r="r" b="b"/>
            <a:pathLst>
              <a:path w="50800" h="50800">
                <a:moveTo>
                  <a:pt x="20574" y="0"/>
                </a:moveTo>
                <a:lnTo>
                  <a:pt x="3809" y="8635"/>
                </a:lnTo>
                <a:lnTo>
                  <a:pt x="1143" y="17144"/>
                </a:lnTo>
                <a:lnTo>
                  <a:pt x="0" y="28447"/>
                </a:lnTo>
                <a:lnTo>
                  <a:pt x="1524" y="38226"/>
                </a:lnTo>
                <a:lnTo>
                  <a:pt x="8635" y="45084"/>
                </a:lnTo>
                <a:lnTo>
                  <a:pt x="17145" y="47878"/>
                </a:lnTo>
                <a:lnTo>
                  <a:pt x="25526" y="50545"/>
                </a:lnTo>
                <a:lnTo>
                  <a:pt x="35432" y="49021"/>
                </a:lnTo>
                <a:lnTo>
                  <a:pt x="42291" y="41782"/>
                </a:lnTo>
                <a:lnTo>
                  <a:pt x="47751" y="31876"/>
                </a:lnTo>
                <a:lnTo>
                  <a:pt x="50419" y="23494"/>
                </a:lnTo>
                <a:lnTo>
                  <a:pt x="41782" y="6730"/>
                </a:lnTo>
                <a:lnTo>
                  <a:pt x="31876" y="1269"/>
                </a:lnTo>
                <a:lnTo>
                  <a:pt x="20574" y="0"/>
                </a:lnTo>
                <a:close/>
              </a:path>
            </a:pathLst>
          </a:custGeom>
          <a:solidFill>
            <a:srgbClr val="D9D9D9"/>
          </a:solidFill>
        </p:spPr>
        <p:txBody>
          <a:bodyPr wrap="square" lIns="0" tIns="0" rIns="0" bIns="0" rtlCol="0"/>
          <a:lstStyle/>
          <a:p>
            <a:endParaRPr/>
          </a:p>
        </p:txBody>
      </p:sp>
      <p:sp>
        <p:nvSpPr>
          <p:cNvPr id="144" name="object 144"/>
          <p:cNvSpPr/>
          <p:nvPr/>
        </p:nvSpPr>
        <p:spPr>
          <a:xfrm>
            <a:off x="8853552" y="3655821"/>
            <a:ext cx="50800" cy="50800"/>
          </a:xfrm>
          <a:custGeom>
            <a:avLst/>
            <a:gdLst/>
            <a:ahLst/>
            <a:cxnLst/>
            <a:rect l="l" t="t" r="r" b="b"/>
            <a:pathLst>
              <a:path w="50800" h="50800">
                <a:moveTo>
                  <a:pt x="20574" y="0"/>
                </a:moveTo>
                <a:lnTo>
                  <a:pt x="3809" y="8635"/>
                </a:lnTo>
                <a:lnTo>
                  <a:pt x="1143" y="17144"/>
                </a:lnTo>
                <a:lnTo>
                  <a:pt x="0" y="28447"/>
                </a:lnTo>
                <a:lnTo>
                  <a:pt x="1524" y="38226"/>
                </a:lnTo>
                <a:lnTo>
                  <a:pt x="8635" y="45084"/>
                </a:lnTo>
                <a:lnTo>
                  <a:pt x="17145" y="47878"/>
                </a:lnTo>
                <a:lnTo>
                  <a:pt x="25526" y="50545"/>
                </a:lnTo>
                <a:lnTo>
                  <a:pt x="35432" y="49021"/>
                </a:lnTo>
                <a:lnTo>
                  <a:pt x="42291" y="41782"/>
                </a:lnTo>
                <a:lnTo>
                  <a:pt x="47751" y="31876"/>
                </a:lnTo>
                <a:lnTo>
                  <a:pt x="50419" y="23494"/>
                </a:lnTo>
                <a:lnTo>
                  <a:pt x="41782" y="6730"/>
                </a:lnTo>
                <a:lnTo>
                  <a:pt x="31876" y="1269"/>
                </a:lnTo>
                <a:lnTo>
                  <a:pt x="20574" y="0"/>
                </a:lnTo>
                <a:close/>
              </a:path>
            </a:pathLst>
          </a:custGeom>
          <a:solidFill>
            <a:srgbClr val="D9D9D9"/>
          </a:solidFill>
        </p:spPr>
        <p:txBody>
          <a:bodyPr wrap="square" lIns="0" tIns="0" rIns="0" bIns="0" rtlCol="0"/>
          <a:lstStyle/>
          <a:p>
            <a:endParaRPr/>
          </a:p>
        </p:txBody>
      </p:sp>
      <p:sp>
        <p:nvSpPr>
          <p:cNvPr id="145" name="object 145"/>
          <p:cNvSpPr/>
          <p:nvPr/>
        </p:nvSpPr>
        <p:spPr>
          <a:xfrm>
            <a:off x="8787638" y="3866261"/>
            <a:ext cx="48260" cy="48260"/>
          </a:xfrm>
          <a:custGeom>
            <a:avLst/>
            <a:gdLst/>
            <a:ahLst/>
            <a:cxnLst/>
            <a:rect l="l" t="t" r="r" b="b"/>
            <a:pathLst>
              <a:path w="48259" h="48260">
                <a:moveTo>
                  <a:pt x="22225" y="0"/>
                </a:moveTo>
                <a:lnTo>
                  <a:pt x="5460" y="8636"/>
                </a:lnTo>
                <a:lnTo>
                  <a:pt x="2793" y="17144"/>
                </a:lnTo>
                <a:lnTo>
                  <a:pt x="0" y="25526"/>
                </a:lnTo>
                <a:lnTo>
                  <a:pt x="4444" y="33908"/>
                </a:lnTo>
                <a:lnTo>
                  <a:pt x="8762" y="42290"/>
                </a:lnTo>
                <a:lnTo>
                  <a:pt x="17144" y="44957"/>
                </a:lnTo>
                <a:lnTo>
                  <a:pt x="25653" y="47751"/>
                </a:lnTo>
                <a:lnTo>
                  <a:pt x="34035" y="43306"/>
                </a:lnTo>
                <a:lnTo>
                  <a:pt x="42417" y="38988"/>
                </a:lnTo>
                <a:lnTo>
                  <a:pt x="45084" y="30480"/>
                </a:lnTo>
                <a:lnTo>
                  <a:pt x="47751" y="22097"/>
                </a:lnTo>
                <a:lnTo>
                  <a:pt x="39115" y="5333"/>
                </a:lnTo>
                <a:lnTo>
                  <a:pt x="22225" y="0"/>
                </a:lnTo>
                <a:close/>
              </a:path>
            </a:pathLst>
          </a:custGeom>
          <a:solidFill>
            <a:srgbClr val="D9D9D9"/>
          </a:solidFill>
        </p:spPr>
        <p:txBody>
          <a:bodyPr wrap="square" lIns="0" tIns="0" rIns="0" bIns="0" rtlCol="0"/>
          <a:lstStyle/>
          <a:p>
            <a:endParaRPr/>
          </a:p>
        </p:txBody>
      </p:sp>
      <p:sp>
        <p:nvSpPr>
          <p:cNvPr id="146" name="object 146"/>
          <p:cNvSpPr/>
          <p:nvPr/>
        </p:nvSpPr>
        <p:spPr>
          <a:xfrm>
            <a:off x="8787638" y="3866261"/>
            <a:ext cx="48260" cy="48260"/>
          </a:xfrm>
          <a:custGeom>
            <a:avLst/>
            <a:gdLst/>
            <a:ahLst/>
            <a:cxnLst/>
            <a:rect l="l" t="t" r="r" b="b"/>
            <a:pathLst>
              <a:path w="48259" h="48260">
                <a:moveTo>
                  <a:pt x="22225" y="0"/>
                </a:moveTo>
                <a:lnTo>
                  <a:pt x="5460" y="8636"/>
                </a:lnTo>
                <a:lnTo>
                  <a:pt x="2793" y="17144"/>
                </a:lnTo>
                <a:lnTo>
                  <a:pt x="0" y="25526"/>
                </a:lnTo>
                <a:lnTo>
                  <a:pt x="4444" y="33908"/>
                </a:lnTo>
                <a:lnTo>
                  <a:pt x="8762" y="42290"/>
                </a:lnTo>
                <a:lnTo>
                  <a:pt x="17144" y="44957"/>
                </a:lnTo>
                <a:lnTo>
                  <a:pt x="25653" y="47751"/>
                </a:lnTo>
                <a:lnTo>
                  <a:pt x="34035" y="43306"/>
                </a:lnTo>
                <a:lnTo>
                  <a:pt x="42417" y="38988"/>
                </a:lnTo>
                <a:lnTo>
                  <a:pt x="45084" y="30480"/>
                </a:lnTo>
                <a:lnTo>
                  <a:pt x="47751" y="22097"/>
                </a:lnTo>
                <a:lnTo>
                  <a:pt x="39115" y="5333"/>
                </a:lnTo>
                <a:lnTo>
                  <a:pt x="22225" y="0"/>
                </a:lnTo>
                <a:close/>
              </a:path>
            </a:pathLst>
          </a:custGeom>
          <a:solidFill>
            <a:srgbClr val="D9D9D9"/>
          </a:solidFill>
        </p:spPr>
        <p:txBody>
          <a:bodyPr wrap="square" lIns="0" tIns="0" rIns="0" bIns="0" rtlCol="0"/>
          <a:lstStyle/>
          <a:p>
            <a:endParaRPr/>
          </a:p>
        </p:txBody>
      </p:sp>
      <p:sp>
        <p:nvSpPr>
          <p:cNvPr id="147" name="object 147"/>
          <p:cNvSpPr/>
          <p:nvPr/>
        </p:nvSpPr>
        <p:spPr>
          <a:xfrm>
            <a:off x="7863967" y="2119503"/>
            <a:ext cx="118109" cy="116839"/>
          </a:xfrm>
          <a:custGeom>
            <a:avLst/>
            <a:gdLst/>
            <a:ahLst/>
            <a:cxnLst/>
            <a:rect l="l" t="t" r="r" b="b"/>
            <a:pathLst>
              <a:path w="118109" h="116839">
                <a:moveTo>
                  <a:pt x="53975" y="0"/>
                </a:moveTo>
                <a:lnTo>
                  <a:pt x="14858" y="20193"/>
                </a:lnTo>
                <a:lnTo>
                  <a:pt x="0" y="52832"/>
                </a:lnTo>
                <a:lnTo>
                  <a:pt x="1524" y="62611"/>
                </a:lnTo>
                <a:lnTo>
                  <a:pt x="4444" y="75184"/>
                </a:lnTo>
                <a:lnTo>
                  <a:pt x="6096" y="84962"/>
                </a:lnTo>
                <a:lnTo>
                  <a:pt x="14604" y="94742"/>
                </a:lnTo>
                <a:lnTo>
                  <a:pt x="21716" y="101600"/>
                </a:lnTo>
                <a:lnTo>
                  <a:pt x="28828" y="108585"/>
                </a:lnTo>
                <a:lnTo>
                  <a:pt x="41528" y="112649"/>
                </a:lnTo>
                <a:lnTo>
                  <a:pt x="54355" y="116586"/>
                </a:lnTo>
                <a:lnTo>
                  <a:pt x="73913" y="113537"/>
                </a:lnTo>
                <a:lnTo>
                  <a:pt x="86486" y="110489"/>
                </a:lnTo>
                <a:lnTo>
                  <a:pt x="96265" y="101981"/>
                </a:lnTo>
                <a:lnTo>
                  <a:pt x="103248" y="94742"/>
                </a:lnTo>
                <a:lnTo>
                  <a:pt x="110108" y="87757"/>
                </a:lnTo>
                <a:lnTo>
                  <a:pt x="114173" y="74930"/>
                </a:lnTo>
                <a:lnTo>
                  <a:pt x="118109" y="62230"/>
                </a:lnTo>
                <a:lnTo>
                  <a:pt x="115061" y="42672"/>
                </a:lnTo>
                <a:lnTo>
                  <a:pt x="89153" y="6476"/>
                </a:lnTo>
                <a:lnTo>
                  <a:pt x="65277" y="1143"/>
                </a:lnTo>
                <a:lnTo>
                  <a:pt x="53975" y="0"/>
                </a:lnTo>
                <a:close/>
              </a:path>
            </a:pathLst>
          </a:custGeom>
          <a:solidFill>
            <a:srgbClr val="D9D9D9"/>
          </a:solidFill>
        </p:spPr>
        <p:txBody>
          <a:bodyPr wrap="square" lIns="0" tIns="0" rIns="0" bIns="0" rtlCol="0"/>
          <a:lstStyle/>
          <a:p>
            <a:endParaRPr/>
          </a:p>
        </p:txBody>
      </p:sp>
      <p:sp>
        <p:nvSpPr>
          <p:cNvPr id="148" name="object 148"/>
          <p:cNvSpPr/>
          <p:nvPr/>
        </p:nvSpPr>
        <p:spPr>
          <a:xfrm>
            <a:off x="7863967" y="2119503"/>
            <a:ext cx="118109" cy="116839"/>
          </a:xfrm>
          <a:custGeom>
            <a:avLst/>
            <a:gdLst/>
            <a:ahLst/>
            <a:cxnLst/>
            <a:rect l="l" t="t" r="r" b="b"/>
            <a:pathLst>
              <a:path w="118109" h="116839">
                <a:moveTo>
                  <a:pt x="53975" y="0"/>
                </a:moveTo>
                <a:lnTo>
                  <a:pt x="14858" y="20193"/>
                </a:lnTo>
                <a:lnTo>
                  <a:pt x="0" y="52832"/>
                </a:lnTo>
                <a:lnTo>
                  <a:pt x="1524" y="62611"/>
                </a:lnTo>
                <a:lnTo>
                  <a:pt x="4444" y="75184"/>
                </a:lnTo>
                <a:lnTo>
                  <a:pt x="6096" y="84962"/>
                </a:lnTo>
                <a:lnTo>
                  <a:pt x="14604" y="94742"/>
                </a:lnTo>
                <a:lnTo>
                  <a:pt x="21716" y="101600"/>
                </a:lnTo>
                <a:lnTo>
                  <a:pt x="28828" y="108585"/>
                </a:lnTo>
                <a:lnTo>
                  <a:pt x="41528" y="112649"/>
                </a:lnTo>
                <a:lnTo>
                  <a:pt x="54355" y="116586"/>
                </a:lnTo>
                <a:lnTo>
                  <a:pt x="73913" y="113537"/>
                </a:lnTo>
                <a:lnTo>
                  <a:pt x="86486" y="110489"/>
                </a:lnTo>
                <a:lnTo>
                  <a:pt x="96265" y="101981"/>
                </a:lnTo>
                <a:lnTo>
                  <a:pt x="103248" y="94742"/>
                </a:lnTo>
                <a:lnTo>
                  <a:pt x="110108" y="87757"/>
                </a:lnTo>
                <a:lnTo>
                  <a:pt x="114173" y="74930"/>
                </a:lnTo>
                <a:lnTo>
                  <a:pt x="118109" y="62230"/>
                </a:lnTo>
                <a:lnTo>
                  <a:pt x="115061" y="42672"/>
                </a:lnTo>
                <a:lnTo>
                  <a:pt x="89153" y="6476"/>
                </a:lnTo>
                <a:lnTo>
                  <a:pt x="65277" y="1143"/>
                </a:lnTo>
                <a:lnTo>
                  <a:pt x="53975" y="0"/>
                </a:lnTo>
                <a:close/>
              </a:path>
            </a:pathLst>
          </a:custGeom>
          <a:solidFill>
            <a:srgbClr val="D9D9D9"/>
          </a:solidFill>
        </p:spPr>
        <p:txBody>
          <a:bodyPr wrap="square" lIns="0" tIns="0" rIns="0" bIns="0" rtlCol="0"/>
          <a:lstStyle/>
          <a:p>
            <a:endParaRPr/>
          </a:p>
        </p:txBody>
      </p:sp>
      <p:sp>
        <p:nvSpPr>
          <p:cNvPr id="149" name="object 149"/>
          <p:cNvSpPr/>
          <p:nvPr/>
        </p:nvSpPr>
        <p:spPr>
          <a:xfrm>
            <a:off x="7652766" y="2094610"/>
            <a:ext cx="105410" cy="108585"/>
          </a:xfrm>
          <a:custGeom>
            <a:avLst/>
            <a:gdLst/>
            <a:ahLst/>
            <a:cxnLst/>
            <a:rect l="l" t="t" r="r" b="b"/>
            <a:pathLst>
              <a:path w="105409" h="108585">
                <a:moveTo>
                  <a:pt x="46862" y="0"/>
                </a:moveTo>
                <a:lnTo>
                  <a:pt x="38607" y="4317"/>
                </a:lnTo>
                <a:lnTo>
                  <a:pt x="28701" y="5841"/>
                </a:lnTo>
                <a:lnTo>
                  <a:pt x="21843" y="12953"/>
                </a:lnTo>
                <a:lnTo>
                  <a:pt x="10667" y="18796"/>
                </a:lnTo>
                <a:lnTo>
                  <a:pt x="8000" y="27304"/>
                </a:lnTo>
                <a:lnTo>
                  <a:pt x="2539" y="37211"/>
                </a:lnTo>
                <a:lnTo>
                  <a:pt x="0" y="59689"/>
                </a:lnTo>
                <a:lnTo>
                  <a:pt x="1524" y="69596"/>
                </a:lnTo>
                <a:lnTo>
                  <a:pt x="5841" y="77850"/>
                </a:lnTo>
                <a:lnTo>
                  <a:pt x="10286" y="86233"/>
                </a:lnTo>
                <a:lnTo>
                  <a:pt x="17399" y="93217"/>
                </a:lnTo>
                <a:lnTo>
                  <a:pt x="37210" y="104139"/>
                </a:lnTo>
                <a:lnTo>
                  <a:pt x="48513" y="105410"/>
                </a:lnTo>
                <a:lnTo>
                  <a:pt x="56895" y="108076"/>
                </a:lnTo>
                <a:lnTo>
                  <a:pt x="68072" y="102235"/>
                </a:lnTo>
                <a:lnTo>
                  <a:pt x="77977" y="100711"/>
                </a:lnTo>
                <a:lnTo>
                  <a:pt x="84835" y="93599"/>
                </a:lnTo>
                <a:lnTo>
                  <a:pt x="93217" y="89280"/>
                </a:lnTo>
                <a:lnTo>
                  <a:pt x="104139" y="69468"/>
                </a:lnTo>
                <a:lnTo>
                  <a:pt x="105409" y="58165"/>
                </a:lnTo>
                <a:lnTo>
                  <a:pt x="102361" y="38480"/>
                </a:lnTo>
                <a:lnTo>
                  <a:pt x="100710" y="28701"/>
                </a:lnTo>
                <a:lnTo>
                  <a:pt x="93599" y="21843"/>
                </a:lnTo>
                <a:lnTo>
                  <a:pt x="79375" y="7874"/>
                </a:lnTo>
                <a:lnTo>
                  <a:pt x="69468" y="2412"/>
                </a:lnTo>
                <a:lnTo>
                  <a:pt x="58165" y="1269"/>
                </a:lnTo>
                <a:lnTo>
                  <a:pt x="46862" y="0"/>
                </a:lnTo>
                <a:close/>
              </a:path>
            </a:pathLst>
          </a:custGeom>
          <a:solidFill>
            <a:srgbClr val="D9D9D9"/>
          </a:solidFill>
        </p:spPr>
        <p:txBody>
          <a:bodyPr wrap="square" lIns="0" tIns="0" rIns="0" bIns="0" rtlCol="0"/>
          <a:lstStyle/>
          <a:p>
            <a:endParaRPr/>
          </a:p>
        </p:txBody>
      </p:sp>
      <p:sp>
        <p:nvSpPr>
          <p:cNvPr id="150" name="object 150"/>
          <p:cNvSpPr/>
          <p:nvPr/>
        </p:nvSpPr>
        <p:spPr>
          <a:xfrm>
            <a:off x="7652766" y="2094610"/>
            <a:ext cx="105410" cy="108585"/>
          </a:xfrm>
          <a:custGeom>
            <a:avLst/>
            <a:gdLst/>
            <a:ahLst/>
            <a:cxnLst/>
            <a:rect l="l" t="t" r="r" b="b"/>
            <a:pathLst>
              <a:path w="105409" h="108585">
                <a:moveTo>
                  <a:pt x="46862" y="0"/>
                </a:moveTo>
                <a:lnTo>
                  <a:pt x="38607" y="4317"/>
                </a:lnTo>
                <a:lnTo>
                  <a:pt x="28701" y="5841"/>
                </a:lnTo>
                <a:lnTo>
                  <a:pt x="21843" y="12953"/>
                </a:lnTo>
                <a:lnTo>
                  <a:pt x="10667" y="18796"/>
                </a:lnTo>
                <a:lnTo>
                  <a:pt x="8000" y="27304"/>
                </a:lnTo>
                <a:lnTo>
                  <a:pt x="2539" y="37211"/>
                </a:lnTo>
                <a:lnTo>
                  <a:pt x="0" y="59689"/>
                </a:lnTo>
                <a:lnTo>
                  <a:pt x="1524" y="69596"/>
                </a:lnTo>
                <a:lnTo>
                  <a:pt x="5841" y="77850"/>
                </a:lnTo>
                <a:lnTo>
                  <a:pt x="10286" y="86233"/>
                </a:lnTo>
                <a:lnTo>
                  <a:pt x="17399" y="93217"/>
                </a:lnTo>
                <a:lnTo>
                  <a:pt x="37210" y="104139"/>
                </a:lnTo>
                <a:lnTo>
                  <a:pt x="48513" y="105410"/>
                </a:lnTo>
                <a:lnTo>
                  <a:pt x="56895" y="108076"/>
                </a:lnTo>
                <a:lnTo>
                  <a:pt x="68072" y="102235"/>
                </a:lnTo>
                <a:lnTo>
                  <a:pt x="77977" y="100711"/>
                </a:lnTo>
                <a:lnTo>
                  <a:pt x="84835" y="93599"/>
                </a:lnTo>
                <a:lnTo>
                  <a:pt x="93217" y="89280"/>
                </a:lnTo>
                <a:lnTo>
                  <a:pt x="104139" y="69468"/>
                </a:lnTo>
                <a:lnTo>
                  <a:pt x="105409" y="58165"/>
                </a:lnTo>
                <a:lnTo>
                  <a:pt x="102361" y="38480"/>
                </a:lnTo>
                <a:lnTo>
                  <a:pt x="100710" y="28701"/>
                </a:lnTo>
                <a:lnTo>
                  <a:pt x="93599" y="21843"/>
                </a:lnTo>
                <a:lnTo>
                  <a:pt x="79375" y="7874"/>
                </a:lnTo>
                <a:lnTo>
                  <a:pt x="69468" y="2412"/>
                </a:lnTo>
                <a:lnTo>
                  <a:pt x="58165" y="1269"/>
                </a:lnTo>
                <a:lnTo>
                  <a:pt x="46862" y="0"/>
                </a:lnTo>
                <a:close/>
              </a:path>
            </a:pathLst>
          </a:custGeom>
          <a:solidFill>
            <a:srgbClr val="D9D9D9"/>
          </a:solidFill>
        </p:spPr>
        <p:txBody>
          <a:bodyPr wrap="square" lIns="0" tIns="0" rIns="0" bIns="0" rtlCol="0"/>
          <a:lstStyle/>
          <a:p>
            <a:endParaRPr/>
          </a:p>
        </p:txBody>
      </p:sp>
      <p:sp>
        <p:nvSpPr>
          <p:cNvPr id="151" name="object 151"/>
          <p:cNvSpPr/>
          <p:nvPr/>
        </p:nvSpPr>
        <p:spPr>
          <a:xfrm>
            <a:off x="7437882" y="2109090"/>
            <a:ext cx="95885" cy="95885"/>
          </a:xfrm>
          <a:custGeom>
            <a:avLst/>
            <a:gdLst/>
            <a:ahLst/>
            <a:cxnLst/>
            <a:rect l="l" t="t" r="r" b="b"/>
            <a:pathLst>
              <a:path w="95884" h="95885">
                <a:moveTo>
                  <a:pt x="42672" y="0"/>
                </a:moveTo>
                <a:lnTo>
                  <a:pt x="6603" y="25781"/>
                </a:lnTo>
                <a:lnTo>
                  <a:pt x="0" y="54101"/>
                </a:lnTo>
                <a:lnTo>
                  <a:pt x="4445" y="69469"/>
                </a:lnTo>
                <a:lnTo>
                  <a:pt x="15875" y="84709"/>
                </a:lnTo>
                <a:lnTo>
                  <a:pt x="25781" y="90170"/>
                </a:lnTo>
                <a:lnTo>
                  <a:pt x="34290" y="92963"/>
                </a:lnTo>
                <a:lnTo>
                  <a:pt x="42799" y="95631"/>
                </a:lnTo>
                <a:lnTo>
                  <a:pt x="52577" y="93980"/>
                </a:lnTo>
                <a:lnTo>
                  <a:pt x="69342" y="92328"/>
                </a:lnTo>
                <a:lnTo>
                  <a:pt x="90170" y="70993"/>
                </a:lnTo>
                <a:lnTo>
                  <a:pt x="92837" y="62484"/>
                </a:lnTo>
                <a:lnTo>
                  <a:pt x="95503" y="54101"/>
                </a:lnTo>
                <a:lnTo>
                  <a:pt x="93979" y="44196"/>
                </a:lnTo>
                <a:lnTo>
                  <a:pt x="90932" y="24637"/>
                </a:lnTo>
                <a:lnTo>
                  <a:pt x="78104" y="13588"/>
                </a:lnTo>
                <a:lnTo>
                  <a:pt x="70993" y="6603"/>
                </a:lnTo>
                <a:lnTo>
                  <a:pt x="53975" y="1270"/>
                </a:lnTo>
                <a:lnTo>
                  <a:pt x="42672" y="0"/>
                </a:lnTo>
                <a:close/>
              </a:path>
            </a:pathLst>
          </a:custGeom>
          <a:solidFill>
            <a:srgbClr val="D9D9D9"/>
          </a:solidFill>
        </p:spPr>
        <p:txBody>
          <a:bodyPr wrap="square" lIns="0" tIns="0" rIns="0" bIns="0" rtlCol="0"/>
          <a:lstStyle/>
          <a:p>
            <a:endParaRPr/>
          </a:p>
        </p:txBody>
      </p:sp>
      <p:sp>
        <p:nvSpPr>
          <p:cNvPr id="152" name="object 152"/>
          <p:cNvSpPr/>
          <p:nvPr/>
        </p:nvSpPr>
        <p:spPr>
          <a:xfrm>
            <a:off x="7437882" y="2109090"/>
            <a:ext cx="95885" cy="95885"/>
          </a:xfrm>
          <a:custGeom>
            <a:avLst/>
            <a:gdLst/>
            <a:ahLst/>
            <a:cxnLst/>
            <a:rect l="l" t="t" r="r" b="b"/>
            <a:pathLst>
              <a:path w="95884" h="95885">
                <a:moveTo>
                  <a:pt x="42672" y="0"/>
                </a:moveTo>
                <a:lnTo>
                  <a:pt x="6603" y="25781"/>
                </a:lnTo>
                <a:lnTo>
                  <a:pt x="0" y="54101"/>
                </a:lnTo>
                <a:lnTo>
                  <a:pt x="4445" y="69469"/>
                </a:lnTo>
                <a:lnTo>
                  <a:pt x="15875" y="84709"/>
                </a:lnTo>
                <a:lnTo>
                  <a:pt x="25781" y="90170"/>
                </a:lnTo>
                <a:lnTo>
                  <a:pt x="34290" y="92963"/>
                </a:lnTo>
                <a:lnTo>
                  <a:pt x="42799" y="95631"/>
                </a:lnTo>
                <a:lnTo>
                  <a:pt x="52577" y="93980"/>
                </a:lnTo>
                <a:lnTo>
                  <a:pt x="69342" y="92328"/>
                </a:lnTo>
                <a:lnTo>
                  <a:pt x="90170" y="70993"/>
                </a:lnTo>
                <a:lnTo>
                  <a:pt x="92837" y="62484"/>
                </a:lnTo>
                <a:lnTo>
                  <a:pt x="95503" y="54101"/>
                </a:lnTo>
                <a:lnTo>
                  <a:pt x="93979" y="44196"/>
                </a:lnTo>
                <a:lnTo>
                  <a:pt x="90932" y="24637"/>
                </a:lnTo>
                <a:lnTo>
                  <a:pt x="78104" y="13588"/>
                </a:lnTo>
                <a:lnTo>
                  <a:pt x="70993" y="6603"/>
                </a:lnTo>
                <a:lnTo>
                  <a:pt x="53975" y="1270"/>
                </a:lnTo>
                <a:lnTo>
                  <a:pt x="42672" y="0"/>
                </a:lnTo>
                <a:close/>
              </a:path>
            </a:pathLst>
          </a:custGeom>
          <a:solidFill>
            <a:srgbClr val="D9D9D9"/>
          </a:solidFill>
        </p:spPr>
        <p:txBody>
          <a:bodyPr wrap="square" lIns="0" tIns="0" rIns="0" bIns="0" rtlCol="0"/>
          <a:lstStyle/>
          <a:p>
            <a:endParaRPr/>
          </a:p>
        </p:txBody>
      </p:sp>
      <p:sp>
        <p:nvSpPr>
          <p:cNvPr id="153" name="object 153"/>
          <p:cNvSpPr/>
          <p:nvPr/>
        </p:nvSpPr>
        <p:spPr>
          <a:xfrm>
            <a:off x="7227697" y="2162811"/>
            <a:ext cx="88900" cy="84455"/>
          </a:xfrm>
          <a:custGeom>
            <a:avLst/>
            <a:gdLst/>
            <a:ahLst/>
            <a:cxnLst/>
            <a:rect l="l" t="t" r="r" b="b"/>
            <a:pathLst>
              <a:path w="88900" h="84455">
                <a:moveTo>
                  <a:pt x="40004" y="0"/>
                </a:moveTo>
                <a:lnTo>
                  <a:pt x="24637" y="4444"/>
                </a:lnTo>
                <a:lnTo>
                  <a:pt x="12192" y="14477"/>
                </a:lnTo>
                <a:lnTo>
                  <a:pt x="2539" y="30099"/>
                </a:lnTo>
                <a:lnTo>
                  <a:pt x="0" y="45592"/>
                </a:lnTo>
                <a:lnTo>
                  <a:pt x="4445" y="60960"/>
                </a:lnTo>
                <a:lnTo>
                  <a:pt x="15875" y="76326"/>
                </a:lnTo>
                <a:lnTo>
                  <a:pt x="29972" y="83185"/>
                </a:lnTo>
                <a:lnTo>
                  <a:pt x="48259" y="84327"/>
                </a:lnTo>
                <a:lnTo>
                  <a:pt x="63753" y="79882"/>
                </a:lnTo>
                <a:lnTo>
                  <a:pt x="76200" y="69850"/>
                </a:lnTo>
                <a:lnTo>
                  <a:pt x="85851" y="54228"/>
                </a:lnTo>
                <a:lnTo>
                  <a:pt x="88392" y="38735"/>
                </a:lnTo>
                <a:lnTo>
                  <a:pt x="82550" y="20447"/>
                </a:lnTo>
                <a:lnTo>
                  <a:pt x="72517" y="8000"/>
                </a:lnTo>
                <a:lnTo>
                  <a:pt x="58293" y="1142"/>
                </a:lnTo>
                <a:lnTo>
                  <a:pt x="40004" y="0"/>
                </a:lnTo>
                <a:close/>
              </a:path>
            </a:pathLst>
          </a:custGeom>
          <a:solidFill>
            <a:srgbClr val="D9D9D9"/>
          </a:solidFill>
        </p:spPr>
        <p:txBody>
          <a:bodyPr wrap="square" lIns="0" tIns="0" rIns="0" bIns="0" rtlCol="0"/>
          <a:lstStyle/>
          <a:p>
            <a:endParaRPr/>
          </a:p>
        </p:txBody>
      </p:sp>
      <p:sp>
        <p:nvSpPr>
          <p:cNvPr id="154" name="object 154"/>
          <p:cNvSpPr/>
          <p:nvPr/>
        </p:nvSpPr>
        <p:spPr>
          <a:xfrm>
            <a:off x="7227697" y="2162811"/>
            <a:ext cx="88900" cy="84455"/>
          </a:xfrm>
          <a:custGeom>
            <a:avLst/>
            <a:gdLst/>
            <a:ahLst/>
            <a:cxnLst/>
            <a:rect l="l" t="t" r="r" b="b"/>
            <a:pathLst>
              <a:path w="88900" h="84455">
                <a:moveTo>
                  <a:pt x="40004" y="0"/>
                </a:moveTo>
                <a:lnTo>
                  <a:pt x="24637" y="4444"/>
                </a:lnTo>
                <a:lnTo>
                  <a:pt x="12192" y="14477"/>
                </a:lnTo>
                <a:lnTo>
                  <a:pt x="2539" y="30099"/>
                </a:lnTo>
                <a:lnTo>
                  <a:pt x="0" y="45592"/>
                </a:lnTo>
                <a:lnTo>
                  <a:pt x="4445" y="60960"/>
                </a:lnTo>
                <a:lnTo>
                  <a:pt x="15875" y="76326"/>
                </a:lnTo>
                <a:lnTo>
                  <a:pt x="29972" y="83185"/>
                </a:lnTo>
                <a:lnTo>
                  <a:pt x="48259" y="84327"/>
                </a:lnTo>
                <a:lnTo>
                  <a:pt x="63753" y="79882"/>
                </a:lnTo>
                <a:lnTo>
                  <a:pt x="76200" y="69850"/>
                </a:lnTo>
                <a:lnTo>
                  <a:pt x="85851" y="54228"/>
                </a:lnTo>
                <a:lnTo>
                  <a:pt x="88392" y="38735"/>
                </a:lnTo>
                <a:lnTo>
                  <a:pt x="82550" y="20447"/>
                </a:lnTo>
                <a:lnTo>
                  <a:pt x="72517" y="8000"/>
                </a:lnTo>
                <a:lnTo>
                  <a:pt x="58293" y="1142"/>
                </a:lnTo>
                <a:lnTo>
                  <a:pt x="40004" y="0"/>
                </a:lnTo>
                <a:close/>
              </a:path>
            </a:pathLst>
          </a:custGeom>
          <a:solidFill>
            <a:srgbClr val="D9D9D9"/>
          </a:solidFill>
        </p:spPr>
        <p:txBody>
          <a:bodyPr wrap="square" lIns="0" tIns="0" rIns="0" bIns="0" rtlCol="0"/>
          <a:lstStyle/>
          <a:p>
            <a:endParaRPr/>
          </a:p>
        </p:txBody>
      </p:sp>
      <p:sp>
        <p:nvSpPr>
          <p:cNvPr id="155" name="object 155"/>
          <p:cNvSpPr/>
          <p:nvPr/>
        </p:nvSpPr>
        <p:spPr>
          <a:xfrm>
            <a:off x="7030720" y="2250185"/>
            <a:ext cx="77470" cy="77470"/>
          </a:xfrm>
          <a:custGeom>
            <a:avLst/>
            <a:gdLst/>
            <a:ahLst/>
            <a:cxnLst/>
            <a:rect l="l" t="t" r="r" b="b"/>
            <a:pathLst>
              <a:path w="77470" h="77469">
                <a:moveTo>
                  <a:pt x="34416" y="0"/>
                </a:moveTo>
                <a:lnTo>
                  <a:pt x="19050" y="4444"/>
                </a:lnTo>
                <a:lnTo>
                  <a:pt x="9398" y="13080"/>
                </a:lnTo>
                <a:lnTo>
                  <a:pt x="2539" y="27177"/>
                </a:lnTo>
                <a:lnTo>
                  <a:pt x="0" y="42672"/>
                </a:lnTo>
                <a:lnTo>
                  <a:pt x="2921" y="55372"/>
                </a:lnTo>
                <a:lnTo>
                  <a:pt x="12953" y="67817"/>
                </a:lnTo>
                <a:lnTo>
                  <a:pt x="27177" y="74675"/>
                </a:lnTo>
                <a:lnTo>
                  <a:pt x="42672" y="77215"/>
                </a:lnTo>
                <a:lnTo>
                  <a:pt x="55245" y="74167"/>
                </a:lnTo>
                <a:lnTo>
                  <a:pt x="67818" y="64135"/>
                </a:lnTo>
                <a:lnTo>
                  <a:pt x="74549" y="50037"/>
                </a:lnTo>
                <a:lnTo>
                  <a:pt x="77215" y="34543"/>
                </a:lnTo>
                <a:lnTo>
                  <a:pt x="72771" y="19176"/>
                </a:lnTo>
                <a:lnTo>
                  <a:pt x="64134" y="9398"/>
                </a:lnTo>
                <a:lnTo>
                  <a:pt x="50037" y="2539"/>
                </a:lnTo>
                <a:lnTo>
                  <a:pt x="34416" y="0"/>
                </a:lnTo>
                <a:close/>
              </a:path>
            </a:pathLst>
          </a:custGeom>
          <a:solidFill>
            <a:srgbClr val="D9D9D9"/>
          </a:solidFill>
        </p:spPr>
        <p:txBody>
          <a:bodyPr wrap="square" lIns="0" tIns="0" rIns="0" bIns="0" rtlCol="0"/>
          <a:lstStyle/>
          <a:p>
            <a:endParaRPr/>
          </a:p>
        </p:txBody>
      </p:sp>
      <p:sp>
        <p:nvSpPr>
          <p:cNvPr id="156" name="object 156"/>
          <p:cNvSpPr/>
          <p:nvPr/>
        </p:nvSpPr>
        <p:spPr>
          <a:xfrm>
            <a:off x="7030720" y="2250185"/>
            <a:ext cx="77470" cy="77470"/>
          </a:xfrm>
          <a:custGeom>
            <a:avLst/>
            <a:gdLst/>
            <a:ahLst/>
            <a:cxnLst/>
            <a:rect l="l" t="t" r="r" b="b"/>
            <a:pathLst>
              <a:path w="77470" h="77469">
                <a:moveTo>
                  <a:pt x="34416" y="0"/>
                </a:moveTo>
                <a:lnTo>
                  <a:pt x="19050" y="4444"/>
                </a:lnTo>
                <a:lnTo>
                  <a:pt x="9398" y="13080"/>
                </a:lnTo>
                <a:lnTo>
                  <a:pt x="2539" y="27177"/>
                </a:lnTo>
                <a:lnTo>
                  <a:pt x="0" y="42672"/>
                </a:lnTo>
                <a:lnTo>
                  <a:pt x="2921" y="55372"/>
                </a:lnTo>
                <a:lnTo>
                  <a:pt x="12953" y="67817"/>
                </a:lnTo>
                <a:lnTo>
                  <a:pt x="27177" y="74675"/>
                </a:lnTo>
                <a:lnTo>
                  <a:pt x="42672" y="77215"/>
                </a:lnTo>
                <a:lnTo>
                  <a:pt x="55245" y="74167"/>
                </a:lnTo>
                <a:lnTo>
                  <a:pt x="67818" y="64135"/>
                </a:lnTo>
                <a:lnTo>
                  <a:pt x="74549" y="50037"/>
                </a:lnTo>
                <a:lnTo>
                  <a:pt x="77215" y="34543"/>
                </a:lnTo>
                <a:lnTo>
                  <a:pt x="72771" y="19176"/>
                </a:lnTo>
                <a:lnTo>
                  <a:pt x="64134" y="9398"/>
                </a:lnTo>
                <a:lnTo>
                  <a:pt x="50037" y="2539"/>
                </a:lnTo>
                <a:lnTo>
                  <a:pt x="34416" y="0"/>
                </a:lnTo>
                <a:close/>
              </a:path>
            </a:pathLst>
          </a:custGeom>
          <a:solidFill>
            <a:srgbClr val="D9D9D9"/>
          </a:solidFill>
        </p:spPr>
        <p:txBody>
          <a:bodyPr wrap="square" lIns="0" tIns="0" rIns="0" bIns="0" rtlCol="0"/>
          <a:lstStyle/>
          <a:p>
            <a:endParaRPr/>
          </a:p>
        </p:txBody>
      </p:sp>
      <p:sp>
        <p:nvSpPr>
          <p:cNvPr id="157" name="object 157"/>
          <p:cNvSpPr/>
          <p:nvPr/>
        </p:nvSpPr>
        <p:spPr>
          <a:xfrm>
            <a:off x="6849619" y="2371090"/>
            <a:ext cx="69215" cy="70485"/>
          </a:xfrm>
          <a:custGeom>
            <a:avLst/>
            <a:gdLst/>
            <a:ahLst/>
            <a:cxnLst/>
            <a:rect l="l" t="t" r="r" b="b"/>
            <a:pathLst>
              <a:path w="69215" h="70485">
                <a:moveTo>
                  <a:pt x="30352" y="0"/>
                </a:moveTo>
                <a:lnTo>
                  <a:pt x="17779" y="2921"/>
                </a:lnTo>
                <a:lnTo>
                  <a:pt x="8127" y="11557"/>
                </a:lnTo>
                <a:lnTo>
                  <a:pt x="1270" y="25654"/>
                </a:lnTo>
                <a:lnTo>
                  <a:pt x="0" y="36957"/>
                </a:lnTo>
                <a:lnTo>
                  <a:pt x="3048" y="49530"/>
                </a:lnTo>
                <a:lnTo>
                  <a:pt x="13080" y="62102"/>
                </a:lnTo>
                <a:lnTo>
                  <a:pt x="22986" y="67563"/>
                </a:lnTo>
                <a:lnTo>
                  <a:pt x="38480" y="70104"/>
                </a:lnTo>
                <a:lnTo>
                  <a:pt x="49656" y="64388"/>
                </a:lnTo>
                <a:lnTo>
                  <a:pt x="60832" y="58547"/>
                </a:lnTo>
                <a:lnTo>
                  <a:pt x="67563" y="44323"/>
                </a:lnTo>
                <a:lnTo>
                  <a:pt x="68833" y="33147"/>
                </a:lnTo>
                <a:lnTo>
                  <a:pt x="64388" y="17780"/>
                </a:lnTo>
                <a:lnTo>
                  <a:pt x="55879" y="8000"/>
                </a:lnTo>
                <a:lnTo>
                  <a:pt x="45847" y="2539"/>
                </a:lnTo>
                <a:lnTo>
                  <a:pt x="30352" y="0"/>
                </a:lnTo>
                <a:close/>
              </a:path>
            </a:pathLst>
          </a:custGeom>
          <a:solidFill>
            <a:srgbClr val="D9D9D9"/>
          </a:solidFill>
        </p:spPr>
        <p:txBody>
          <a:bodyPr wrap="square" lIns="0" tIns="0" rIns="0" bIns="0" rtlCol="0"/>
          <a:lstStyle/>
          <a:p>
            <a:endParaRPr/>
          </a:p>
        </p:txBody>
      </p:sp>
      <p:sp>
        <p:nvSpPr>
          <p:cNvPr id="158" name="object 158"/>
          <p:cNvSpPr/>
          <p:nvPr/>
        </p:nvSpPr>
        <p:spPr>
          <a:xfrm>
            <a:off x="6849619" y="2371090"/>
            <a:ext cx="69215" cy="70485"/>
          </a:xfrm>
          <a:custGeom>
            <a:avLst/>
            <a:gdLst/>
            <a:ahLst/>
            <a:cxnLst/>
            <a:rect l="l" t="t" r="r" b="b"/>
            <a:pathLst>
              <a:path w="69215" h="70485">
                <a:moveTo>
                  <a:pt x="30352" y="0"/>
                </a:moveTo>
                <a:lnTo>
                  <a:pt x="17779" y="2921"/>
                </a:lnTo>
                <a:lnTo>
                  <a:pt x="8127" y="11557"/>
                </a:lnTo>
                <a:lnTo>
                  <a:pt x="1270" y="25654"/>
                </a:lnTo>
                <a:lnTo>
                  <a:pt x="0" y="36957"/>
                </a:lnTo>
                <a:lnTo>
                  <a:pt x="3048" y="49530"/>
                </a:lnTo>
                <a:lnTo>
                  <a:pt x="13080" y="62102"/>
                </a:lnTo>
                <a:lnTo>
                  <a:pt x="22986" y="67563"/>
                </a:lnTo>
                <a:lnTo>
                  <a:pt x="38480" y="70104"/>
                </a:lnTo>
                <a:lnTo>
                  <a:pt x="49656" y="64388"/>
                </a:lnTo>
                <a:lnTo>
                  <a:pt x="60832" y="58547"/>
                </a:lnTo>
                <a:lnTo>
                  <a:pt x="67563" y="44323"/>
                </a:lnTo>
                <a:lnTo>
                  <a:pt x="68833" y="33147"/>
                </a:lnTo>
                <a:lnTo>
                  <a:pt x="64388" y="17780"/>
                </a:lnTo>
                <a:lnTo>
                  <a:pt x="55879" y="8000"/>
                </a:lnTo>
                <a:lnTo>
                  <a:pt x="45847" y="2539"/>
                </a:lnTo>
                <a:lnTo>
                  <a:pt x="30352" y="0"/>
                </a:lnTo>
                <a:close/>
              </a:path>
            </a:pathLst>
          </a:custGeom>
          <a:solidFill>
            <a:srgbClr val="D9D9D9"/>
          </a:solidFill>
        </p:spPr>
        <p:txBody>
          <a:bodyPr wrap="square" lIns="0" tIns="0" rIns="0" bIns="0" rtlCol="0"/>
          <a:lstStyle/>
          <a:p>
            <a:endParaRPr/>
          </a:p>
        </p:txBody>
      </p:sp>
      <p:sp>
        <p:nvSpPr>
          <p:cNvPr id="159" name="object 159"/>
          <p:cNvSpPr/>
          <p:nvPr/>
        </p:nvSpPr>
        <p:spPr>
          <a:xfrm>
            <a:off x="6689979" y="2522473"/>
            <a:ext cx="63501" cy="63500"/>
          </a:xfrm>
          <a:custGeom>
            <a:avLst/>
            <a:gdLst/>
            <a:ahLst/>
            <a:cxnLst/>
            <a:rect l="l" t="t" r="r" b="b"/>
            <a:pathLst>
              <a:path w="63500" h="63500">
                <a:moveTo>
                  <a:pt x="27813" y="0"/>
                </a:moveTo>
                <a:lnTo>
                  <a:pt x="16637" y="5714"/>
                </a:lnTo>
                <a:lnTo>
                  <a:pt x="8254" y="10160"/>
                </a:lnTo>
                <a:lnTo>
                  <a:pt x="0" y="21462"/>
                </a:lnTo>
                <a:lnTo>
                  <a:pt x="253" y="35560"/>
                </a:lnTo>
                <a:lnTo>
                  <a:pt x="1777" y="45338"/>
                </a:lnTo>
                <a:lnTo>
                  <a:pt x="10414" y="55117"/>
                </a:lnTo>
                <a:lnTo>
                  <a:pt x="20320" y="60578"/>
                </a:lnTo>
                <a:lnTo>
                  <a:pt x="35814" y="63118"/>
                </a:lnTo>
                <a:lnTo>
                  <a:pt x="55372" y="52959"/>
                </a:lnTo>
                <a:lnTo>
                  <a:pt x="59309" y="40259"/>
                </a:lnTo>
                <a:lnTo>
                  <a:pt x="63373" y="27559"/>
                </a:lnTo>
                <a:lnTo>
                  <a:pt x="57530" y="16383"/>
                </a:lnTo>
                <a:lnTo>
                  <a:pt x="53213" y="8000"/>
                </a:lnTo>
                <a:lnTo>
                  <a:pt x="39116" y="1270"/>
                </a:lnTo>
                <a:lnTo>
                  <a:pt x="27813" y="0"/>
                </a:lnTo>
                <a:close/>
              </a:path>
            </a:pathLst>
          </a:custGeom>
          <a:solidFill>
            <a:srgbClr val="D9D9D9"/>
          </a:solidFill>
        </p:spPr>
        <p:txBody>
          <a:bodyPr wrap="square" lIns="0" tIns="0" rIns="0" bIns="0" rtlCol="0"/>
          <a:lstStyle/>
          <a:p>
            <a:endParaRPr/>
          </a:p>
        </p:txBody>
      </p:sp>
      <p:sp>
        <p:nvSpPr>
          <p:cNvPr id="160" name="object 160"/>
          <p:cNvSpPr/>
          <p:nvPr/>
        </p:nvSpPr>
        <p:spPr>
          <a:xfrm>
            <a:off x="6689979" y="2522473"/>
            <a:ext cx="63501" cy="63500"/>
          </a:xfrm>
          <a:custGeom>
            <a:avLst/>
            <a:gdLst/>
            <a:ahLst/>
            <a:cxnLst/>
            <a:rect l="l" t="t" r="r" b="b"/>
            <a:pathLst>
              <a:path w="63500" h="63500">
                <a:moveTo>
                  <a:pt x="27813" y="0"/>
                </a:moveTo>
                <a:lnTo>
                  <a:pt x="16637" y="5714"/>
                </a:lnTo>
                <a:lnTo>
                  <a:pt x="8254" y="10160"/>
                </a:lnTo>
                <a:lnTo>
                  <a:pt x="0" y="21462"/>
                </a:lnTo>
                <a:lnTo>
                  <a:pt x="253" y="35560"/>
                </a:lnTo>
                <a:lnTo>
                  <a:pt x="1777" y="45338"/>
                </a:lnTo>
                <a:lnTo>
                  <a:pt x="10414" y="55117"/>
                </a:lnTo>
                <a:lnTo>
                  <a:pt x="20320" y="60578"/>
                </a:lnTo>
                <a:lnTo>
                  <a:pt x="35814" y="63118"/>
                </a:lnTo>
                <a:lnTo>
                  <a:pt x="55372" y="52959"/>
                </a:lnTo>
                <a:lnTo>
                  <a:pt x="59309" y="40259"/>
                </a:lnTo>
                <a:lnTo>
                  <a:pt x="63373" y="27559"/>
                </a:lnTo>
                <a:lnTo>
                  <a:pt x="57530" y="16383"/>
                </a:lnTo>
                <a:lnTo>
                  <a:pt x="53213" y="8000"/>
                </a:lnTo>
                <a:lnTo>
                  <a:pt x="39116" y="1270"/>
                </a:lnTo>
                <a:lnTo>
                  <a:pt x="27813" y="0"/>
                </a:lnTo>
                <a:close/>
              </a:path>
            </a:pathLst>
          </a:custGeom>
          <a:solidFill>
            <a:srgbClr val="D9D9D9"/>
          </a:solidFill>
        </p:spPr>
        <p:txBody>
          <a:bodyPr wrap="square" lIns="0" tIns="0" rIns="0" bIns="0" rtlCol="0"/>
          <a:lstStyle/>
          <a:p>
            <a:endParaRPr/>
          </a:p>
        </p:txBody>
      </p:sp>
      <p:sp>
        <p:nvSpPr>
          <p:cNvPr id="161" name="object 161"/>
          <p:cNvSpPr/>
          <p:nvPr/>
        </p:nvSpPr>
        <p:spPr>
          <a:xfrm>
            <a:off x="6560693" y="2701544"/>
            <a:ext cx="53340" cy="53340"/>
          </a:xfrm>
          <a:custGeom>
            <a:avLst/>
            <a:gdLst/>
            <a:ahLst/>
            <a:cxnLst/>
            <a:rect l="l" t="t" r="r" b="b"/>
            <a:pathLst>
              <a:path w="53340" h="53339">
                <a:moveTo>
                  <a:pt x="23367" y="0"/>
                </a:moveTo>
                <a:lnTo>
                  <a:pt x="13588" y="1523"/>
                </a:lnTo>
                <a:lnTo>
                  <a:pt x="6730" y="8635"/>
                </a:lnTo>
                <a:lnTo>
                  <a:pt x="1142" y="18668"/>
                </a:lnTo>
                <a:lnTo>
                  <a:pt x="0" y="29844"/>
                </a:lnTo>
                <a:lnTo>
                  <a:pt x="1524" y="39750"/>
                </a:lnTo>
                <a:lnTo>
                  <a:pt x="8635" y="46608"/>
                </a:lnTo>
                <a:lnTo>
                  <a:pt x="18541" y="52069"/>
                </a:lnTo>
                <a:lnTo>
                  <a:pt x="29845" y="53339"/>
                </a:lnTo>
                <a:lnTo>
                  <a:pt x="39624" y="51815"/>
                </a:lnTo>
                <a:lnTo>
                  <a:pt x="46608" y="44703"/>
                </a:lnTo>
                <a:lnTo>
                  <a:pt x="52070" y="34797"/>
                </a:lnTo>
                <a:lnTo>
                  <a:pt x="53339" y="23494"/>
                </a:lnTo>
                <a:lnTo>
                  <a:pt x="51688" y="13715"/>
                </a:lnTo>
                <a:lnTo>
                  <a:pt x="44576" y="6730"/>
                </a:lnTo>
                <a:lnTo>
                  <a:pt x="34671" y="1269"/>
                </a:lnTo>
                <a:lnTo>
                  <a:pt x="23367" y="0"/>
                </a:lnTo>
                <a:close/>
              </a:path>
            </a:pathLst>
          </a:custGeom>
          <a:solidFill>
            <a:srgbClr val="D9D9D9"/>
          </a:solidFill>
        </p:spPr>
        <p:txBody>
          <a:bodyPr wrap="square" lIns="0" tIns="0" rIns="0" bIns="0" rtlCol="0"/>
          <a:lstStyle/>
          <a:p>
            <a:endParaRPr/>
          </a:p>
        </p:txBody>
      </p:sp>
      <p:sp>
        <p:nvSpPr>
          <p:cNvPr id="162" name="object 162"/>
          <p:cNvSpPr/>
          <p:nvPr/>
        </p:nvSpPr>
        <p:spPr>
          <a:xfrm>
            <a:off x="6560693" y="2701544"/>
            <a:ext cx="53340" cy="53340"/>
          </a:xfrm>
          <a:custGeom>
            <a:avLst/>
            <a:gdLst/>
            <a:ahLst/>
            <a:cxnLst/>
            <a:rect l="l" t="t" r="r" b="b"/>
            <a:pathLst>
              <a:path w="53340" h="53339">
                <a:moveTo>
                  <a:pt x="23367" y="0"/>
                </a:moveTo>
                <a:lnTo>
                  <a:pt x="13588" y="1523"/>
                </a:lnTo>
                <a:lnTo>
                  <a:pt x="6730" y="8635"/>
                </a:lnTo>
                <a:lnTo>
                  <a:pt x="1142" y="18668"/>
                </a:lnTo>
                <a:lnTo>
                  <a:pt x="0" y="29844"/>
                </a:lnTo>
                <a:lnTo>
                  <a:pt x="1524" y="39750"/>
                </a:lnTo>
                <a:lnTo>
                  <a:pt x="8635" y="46608"/>
                </a:lnTo>
                <a:lnTo>
                  <a:pt x="18541" y="52069"/>
                </a:lnTo>
                <a:lnTo>
                  <a:pt x="29845" y="53339"/>
                </a:lnTo>
                <a:lnTo>
                  <a:pt x="39624" y="51815"/>
                </a:lnTo>
                <a:lnTo>
                  <a:pt x="46608" y="44703"/>
                </a:lnTo>
                <a:lnTo>
                  <a:pt x="52070" y="34797"/>
                </a:lnTo>
                <a:lnTo>
                  <a:pt x="53339" y="23494"/>
                </a:lnTo>
                <a:lnTo>
                  <a:pt x="51688" y="13715"/>
                </a:lnTo>
                <a:lnTo>
                  <a:pt x="44576" y="6730"/>
                </a:lnTo>
                <a:lnTo>
                  <a:pt x="34671" y="1269"/>
                </a:lnTo>
                <a:lnTo>
                  <a:pt x="23367" y="0"/>
                </a:lnTo>
                <a:close/>
              </a:path>
            </a:pathLst>
          </a:custGeom>
          <a:solidFill>
            <a:srgbClr val="D9D9D9"/>
          </a:solidFill>
        </p:spPr>
        <p:txBody>
          <a:bodyPr wrap="square" lIns="0" tIns="0" rIns="0" bIns="0" rtlCol="0"/>
          <a:lstStyle/>
          <a:p>
            <a:endParaRPr/>
          </a:p>
        </p:txBody>
      </p:sp>
      <p:sp>
        <p:nvSpPr>
          <p:cNvPr id="163" name="object 163"/>
          <p:cNvSpPr/>
          <p:nvPr/>
        </p:nvSpPr>
        <p:spPr>
          <a:xfrm>
            <a:off x="6459473" y="2896870"/>
            <a:ext cx="52069" cy="50800"/>
          </a:xfrm>
          <a:custGeom>
            <a:avLst/>
            <a:gdLst/>
            <a:ahLst/>
            <a:cxnLst/>
            <a:rect l="l" t="t" r="r" b="b"/>
            <a:pathLst>
              <a:path w="52070" h="50800">
                <a:moveTo>
                  <a:pt x="34798" y="0"/>
                </a:moveTo>
                <a:lnTo>
                  <a:pt x="24891" y="1524"/>
                </a:lnTo>
                <a:lnTo>
                  <a:pt x="15112" y="3175"/>
                </a:lnTo>
                <a:lnTo>
                  <a:pt x="8254" y="10287"/>
                </a:lnTo>
                <a:lnTo>
                  <a:pt x="1270" y="17399"/>
                </a:lnTo>
                <a:lnTo>
                  <a:pt x="0" y="28701"/>
                </a:lnTo>
                <a:lnTo>
                  <a:pt x="4317" y="36956"/>
                </a:lnTo>
                <a:lnTo>
                  <a:pt x="8762" y="45338"/>
                </a:lnTo>
                <a:lnTo>
                  <a:pt x="18668" y="50800"/>
                </a:lnTo>
                <a:lnTo>
                  <a:pt x="38226" y="47751"/>
                </a:lnTo>
                <a:lnTo>
                  <a:pt x="45211" y="40639"/>
                </a:lnTo>
                <a:lnTo>
                  <a:pt x="52070" y="33527"/>
                </a:lnTo>
                <a:lnTo>
                  <a:pt x="49022" y="13842"/>
                </a:lnTo>
                <a:lnTo>
                  <a:pt x="41910" y="6984"/>
                </a:lnTo>
                <a:lnTo>
                  <a:pt x="34798" y="0"/>
                </a:lnTo>
                <a:close/>
              </a:path>
            </a:pathLst>
          </a:custGeom>
          <a:solidFill>
            <a:srgbClr val="D9D9D9"/>
          </a:solidFill>
        </p:spPr>
        <p:txBody>
          <a:bodyPr wrap="square" lIns="0" tIns="0" rIns="0" bIns="0" rtlCol="0"/>
          <a:lstStyle/>
          <a:p>
            <a:endParaRPr/>
          </a:p>
        </p:txBody>
      </p:sp>
      <p:sp>
        <p:nvSpPr>
          <p:cNvPr id="164" name="object 164"/>
          <p:cNvSpPr/>
          <p:nvPr/>
        </p:nvSpPr>
        <p:spPr>
          <a:xfrm>
            <a:off x="6459473" y="2896870"/>
            <a:ext cx="52069" cy="50800"/>
          </a:xfrm>
          <a:custGeom>
            <a:avLst/>
            <a:gdLst/>
            <a:ahLst/>
            <a:cxnLst/>
            <a:rect l="l" t="t" r="r" b="b"/>
            <a:pathLst>
              <a:path w="52070" h="50800">
                <a:moveTo>
                  <a:pt x="34798" y="0"/>
                </a:moveTo>
                <a:lnTo>
                  <a:pt x="24891" y="1524"/>
                </a:lnTo>
                <a:lnTo>
                  <a:pt x="15112" y="3175"/>
                </a:lnTo>
                <a:lnTo>
                  <a:pt x="8254" y="10287"/>
                </a:lnTo>
                <a:lnTo>
                  <a:pt x="1270" y="17399"/>
                </a:lnTo>
                <a:lnTo>
                  <a:pt x="0" y="28701"/>
                </a:lnTo>
                <a:lnTo>
                  <a:pt x="4317" y="36956"/>
                </a:lnTo>
                <a:lnTo>
                  <a:pt x="8762" y="45338"/>
                </a:lnTo>
                <a:lnTo>
                  <a:pt x="18668" y="50800"/>
                </a:lnTo>
                <a:lnTo>
                  <a:pt x="38226" y="47751"/>
                </a:lnTo>
                <a:lnTo>
                  <a:pt x="45211" y="40639"/>
                </a:lnTo>
                <a:lnTo>
                  <a:pt x="52070" y="33527"/>
                </a:lnTo>
                <a:lnTo>
                  <a:pt x="49022" y="13842"/>
                </a:lnTo>
                <a:lnTo>
                  <a:pt x="41910" y="6984"/>
                </a:lnTo>
                <a:lnTo>
                  <a:pt x="34798" y="0"/>
                </a:lnTo>
                <a:close/>
              </a:path>
            </a:pathLst>
          </a:custGeom>
          <a:solidFill>
            <a:srgbClr val="D9D9D9"/>
          </a:solidFill>
        </p:spPr>
        <p:txBody>
          <a:bodyPr wrap="square" lIns="0" tIns="0" rIns="0" bIns="0" rtlCol="0"/>
          <a:lstStyle/>
          <a:p>
            <a:endParaRPr/>
          </a:p>
        </p:txBody>
      </p:sp>
      <p:sp>
        <p:nvSpPr>
          <p:cNvPr id="165" name="object 165"/>
          <p:cNvSpPr/>
          <p:nvPr/>
        </p:nvSpPr>
        <p:spPr>
          <a:xfrm>
            <a:off x="6396354" y="3108705"/>
            <a:ext cx="46991" cy="46990"/>
          </a:xfrm>
          <a:custGeom>
            <a:avLst/>
            <a:gdLst/>
            <a:ahLst/>
            <a:cxnLst/>
            <a:rect l="l" t="t" r="r" b="b"/>
            <a:pathLst>
              <a:path w="46989" h="46989">
                <a:moveTo>
                  <a:pt x="30734" y="0"/>
                </a:moveTo>
                <a:lnTo>
                  <a:pt x="20955" y="1651"/>
                </a:lnTo>
                <a:lnTo>
                  <a:pt x="11049" y="3175"/>
                </a:lnTo>
                <a:lnTo>
                  <a:pt x="6985" y="8763"/>
                </a:lnTo>
                <a:lnTo>
                  <a:pt x="0" y="16002"/>
                </a:lnTo>
                <a:lnTo>
                  <a:pt x="1650" y="25781"/>
                </a:lnTo>
                <a:lnTo>
                  <a:pt x="1650" y="32766"/>
                </a:lnTo>
                <a:lnTo>
                  <a:pt x="8762" y="39751"/>
                </a:lnTo>
                <a:lnTo>
                  <a:pt x="16002" y="46609"/>
                </a:lnTo>
                <a:lnTo>
                  <a:pt x="25781" y="45085"/>
                </a:lnTo>
                <a:lnTo>
                  <a:pt x="32766" y="44958"/>
                </a:lnTo>
                <a:lnTo>
                  <a:pt x="39750" y="37846"/>
                </a:lnTo>
                <a:lnTo>
                  <a:pt x="46609" y="30734"/>
                </a:lnTo>
                <a:lnTo>
                  <a:pt x="43561" y="11049"/>
                </a:lnTo>
                <a:lnTo>
                  <a:pt x="37846" y="6985"/>
                </a:lnTo>
                <a:lnTo>
                  <a:pt x="30734" y="0"/>
                </a:lnTo>
                <a:close/>
              </a:path>
            </a:pathLst>
          </a:custGeom>
          <a:solidFill>
            <a:srgbClr val="D9D9D9"/>
          </a:solidFill>
        </p:spPr>
        <p:txBody>
          <a:bodyPr wrap="square" lIns="0" tIns="0" rIns="0" bIns="0" rtlCol="0"/>
          <a:lstStyle/>
          <a:p>
            <a:endParaRPr/>
          </a:p>
        </p:txBody>
      </p:sp>
      <p:sp>
        <p:nvSpPr>
          <p:cNvPr id="166" name="object 166"/>
          <p:cNvSpPr/>
          <p:nvPr/>
        </p:nvSpPr>
        <p:spPr>
          <a:xfrm>
            <a:off x="6396354" y="3108705"/>
            <a:ext cx="46991" cy="46990"/>
          </a:xfrm>
          <a:custGeom>
            <a:avLst/>
            <a:gdLst/>
            <a:ahLst/>
            <a:cxnLst/>
            <a:rect l="l" t="t" r="r" b="b"/>
            <a:pathLst>
              <a:path w="46989" h="46989">
                <a:moveTo>
                  <a:pt x="30734" y="0"/>
                </a:moveTo>
                <a:lnTo>
                  <a:pt x="20955" y="1651"/>
                </a:lnTo>
                <a:lnTo>
                  <a:pt x="11049" y="3175"/>
                </a:lnTo>
                <a:lnTo>
                  <a:pt x="6985" y="8763"/>
                </a:lnTo>
                <a:lnTo>
                  <a:pt x="0" y="16002"/>
                </a:lnTo>
                <a:lnTo>
                  <a:pt x="1650" y="25781"/>
                </a:lnTo>
                <a:lnTo>
                  <a:pt x="1650" y="32766"/>
                </a:lnTo>
                <a:lnTo>
                  <a:pt x="8762" y="39751"/>
                </a:lnTo>
                <a:lnTo>
                  <a:pt x="16002" y="46609"/>
                </a:lnTo>
                <a:lnTo>
                  <a:pt x="25781" y="45085"/>
                </a:lnTo>
                <a:lnTo>
                  <a:pt x="32766" y="44958"/>
                </a:lnTo>
                <a:lnTo>
                  <a:pt x="39750" y="37846"/>
                </a:lnTo>
                <a:lnTo>
                  <a:pt x="46609" y="30734"/>
                </a:lnTo>
                <a:lnTo>
                  <a:pt x="43561" y="11049"/>
                </a:lnTo>
                <a:lnTo>
                  <a:pt x="37846" y="6985"/>
                </a:lnTo>
                <a:lnTo>
                  <a:pt x="30734" y="0"/>
                </a:lnTo>
                <a:close/>
              </a:path>
            </a:pathLst>
          </a:custGeom>
          <a:solidFill>
            <a:srgbClr val="D9D9D9"/>
          </a:solidFill>
        </p:spPr>
        <p:txBody>
          <a:bodyPr wrap="square" lIns="0" tIns="0" rIns="0" bIns="0" rtlCol="0"/>
          <a:lstStyle/>
          <a:p>
            <a:endParaRPr/>
          </a:p>
        </p:txBody>
      </p:sp>
      <p:sp>
        <p:nvSpPr>
          <p:cNvPr id="167" name="object 167"/>
          <p:cNvSpPr/>
          <p:nvPr/>
        </p:nvSpPr>
        <p:spPr>
          <a:xfrm>
            <a:off x="7460107" y="2295525"/>
            <a:ext cx="100330" cy="99060"/>
          </a:xfrm>
          <a:custGeom>
            <a:avLst/>
            <a:gdLst/>
            <a:ahLst/>
            <a:cxnLst/>
            <a:rect l="l" t="t" r="r" b="b"/>
            <a:pathLst>
              <a:path w="100329" h="99060">
                <a:moveTo>
                  <a:pt x="57023" y="0"/>
                </a:moveTo>
                <a:lnTo>
                  <a:pt x="8127" y="21844"/>
                </a:lnTo>
                <a:lnTo>
                  <a:pt x="0" y="40132"/>
                </a:lnTo>
                <a:lnTo>
                  <a:pt x="3048" y="59816"/>
                </a:lnTo>
                <a:lnTo>
                  <a:pt x="6096" y="72389"/>
                </a:lnTo>
                <a:lnTo>
                  <a:pt x="16128" y="84962"/>
                </a:lnTo>
                <a:lnTo>
                  <a:pt x="28956" y="96012"/>
                </a:lnTo>
                <a:lnTo>
                  <a:pt x="44450" y="98551"/>
                </a:lnTo>
                <a:lnTo>
                  <a:pt x="61214" y="96900"/>
                </a:lnTo>
                <a:lnTo>
                  <a:pt x="98678" y="59816"/>
                </a:lnTo>
                <a:lnTo>
                  <a:pt x="99949" y="48513"/>
                </a:lnTo>
                <a:lnTo>
                  <a:pt x="98298" y="38735"/>
                </a:lnTo>
                <a:lnTo>
                  <a:pt x="95376" y="26162"/>
                </a:lnTo>
                <a:lnTo>
                  <a:pt x="85344" y="13588"/>
                </a:lnTo>
                <a:lnTo>
                  <a:pt x="72517" y="2539"/>
                </a:lnTo>
                <a:lnTo>
                  <a:pt x="57023" y="0"/>
                </a:lnTo>
                <a:close/>
              </a:path>
            </a:pathLst>
          </a:custGeom>
          <a:solidFill>
            <a:srgbClr val="D9D9D9"/>
          </a:solidFill>
        </p:spPr>
        <p:txBody>
          <a:bodyPr wrap="square" lIns="0" tIns="0" rIns="0" bIns="0" rtlCol="0"/>
          <a:lstStyle/>
          <a:p>
            <a:endParaRPr/>
          </a:p>
        </p:txBody>
      </p:sp>
      <p:sp>
        <p:nvSpPr>
          <p:cNvPr id="168" name="object 168"/>
          <p:cNvSpPr/>
          <p:nvPr/>
        </p:nvSpPr>
        <p:spPr>
          <a:xfrm>
            <a:off x="7460107" y="2295525"/>
            <a:ext cx="100330" cy="99060"/>
          </a:xfrm>
          <a:custGeom>
            <a:avLst/>
            <a:gdLst/>
            <a:ahLst/>
            <a:cxnLst/>
            <a:rect l="l" t="t" r="r" b="b"/>
            <a:pathLst>
              <a:path w="100329" h="99060">
                <a:moveTo>
                  <a:pt x="57023" y="0"/>
                </a:moveTo>
                <a:lnTo>
                  <a:pt x="8127" y="21844"/>
                </a:lnTo>
                <a:lnTo>
                  <a:pt x="0" y="40132"/>
                </a:lnTo>
                <a:lnTo>
                  <a:pt x="3048" y="59816"/>
                </a:lnTo>
                <a:lnTo>
                  <a:pt x="6096" y="72389"/>
                </a:lnTo>
                <a:lnTo>
                  <a:pt x="16128" y="84962"/>
                </a:lnTo>
                <a:lnTo>
                  <a:pt x="28956" y="96012"/>
                </a:lnTo>
                <a:lnTo>
                  <a:pt x="44450" y="98551"/>
                </a:lnTo>
                <a:lnTo>
                  <a:pt x="61214" y="96900"/>
                </a:lnTo>
                <a:lnTo>
                  <a:pt x="98678" y="59816"/>
                </a:lnTo>
                <a:lnTo>
                  <a:pt x="99949" y="48513"/>
                </a:lnTo>
                <a:lnTo>
                  <a:pt x="98298" y="38735"/>
                </a:lnTo>
                <a:lnTo>
                  <a:pt x="95376" y="26162"/>
                </a:lnTo>
                <a:lnTo>
                  <a:pt x="85344" y="13588"/>
                </a:lnTo>
                <a:lnTo>
                  <a:pt x="72517" y="2539"/>
                </a:lnTo>
                <a:lnTo>
                  <a:pt x="57023" y="0"/>
                </a:lnTo>
                <a:close/>
              </a:path>
            </a:pathLst>
          </a:custGeom>
          <a:solidFill>
            <a:srgbClr val="D9D9D9"/>
          </a:solidFill>
        </p:spPr>
        <p:txBody>
          <a:bodyPr wrap="square" lIns="0" tIns="0" rIns="0" bIns="0" rtlCol="0"/>
          <a:lstStyle/>
          <a:p>
            <a:endParaRPr/>
          </a:p>
        </p:txBody>
      </p:sp>
      <p:sp>
        <p:nvSpPr>
          <p:cNvPr id="169" name="object 169"/>
          <p:cNvSpPr/>
          <p:nvPr/>
        </p:nvSpPr>
        <p:spPr>
          <a:xfrm>
            <a:off x="7651116" y="2291333"/>
            <a:ext cx="90805" cy="90170"/>
          </a:xfrm>
          <a:custGeom>
            <a:avLst/>
            <a:gdLst/>
            <a:ahLst/>
            <a:cxnLst/>
            <a:rect l="l" t="t" r="r" b="b"/>
            <a:pathLst>
              <a:path w="90804" h="90169">
                <a:moveTo>
                  <a:pt x="51434" y="0"/>
                </a:moveTo>
                <a:lnTo>
                  <a:pt x="34670" y="1650"/>
                </a:lnTo>
                <a:lnTo>
                  <a:pt x="20700" y="8889"/>
                </a:lnTo>
                <a:lnTo>
                  <a:pt x="9651" y="21716"/>
                </a:lnTo>
                <a:lnTo>
                  <a:pt x="0" y="37337"/>
                </a:lnTo>
                <a:lnTo>
                  <a:pt x="1650" y="54228"/>
                </a:lnTo>
                <a:lnTo>
                  <a:pt x="4699" y="66801"/>
                </a:lnTo>
                <a:lnTo>
                  <a:pt x="14731" y="79248"/>
                </a:lnTo>
                <a:lnTo>
                  <a:pt x="26034" y="87502"/>
                </a:lnTo>
                <a:lnTo>
                  <a:pt x="41528" y="90169"/>
                </a:lnTo>
                <a:lnTo>
                  <a:pt x="55625" y="89915"/>
                </a:lnTo>
                <a:lnTo>
                  <a:pt x="72389" y="81279"/>
                </a:lnTo>
                <a:lnTo>
                  <a:pt x="83438" y="68452"/>
                </a:lnTo>
                <a:lnTo>
                  <a:pt x="90296" y="54228"/>
                </a:lnTo>
                <a:lnTo>
                  <a:pt x="88645" y="37464"/>
                </a:lnTo>
                <a:lnTo>
                  <a:pt x="85598" y="24764"/>
                </a:lnTo>
                <a:lnTo>
                  <a:pt x="75564" y="12318"/>
                </a:lnTo>
                <a:lnTo>
                  <a:pt x="64261" y="4063"/>
                </a:lnTo>
                <a:lnTo>
                  <a:pt x="51434" y="0"/>
                </a:lnTo>
                <a:close/>
              </a:path>
            </a:pathLst>
          </a:custGeom>
          <a:solidFill>
            <a:srgbClr val="D9D9D9"/>
          </a:solidFill>
        </p:spPr>
        <p:txBody>
          <a:bodyPr wrap="square" lIns="0" tIns="0" rIns="0" bIns="0" rtlCol="0"/>
          <a:lstStyle/>
          <a:p>
            <a:endParaRPr/>
          </a:p>
        </p:txBody>
      </p:sp>
      <p:sp>
        <p:nvSpPr>
          <p:cNvPr id="170" name="object 170"/>
          <p:cNvSpPr/>
          <p:nvPr/>
        </p:nvSpPr>
        <p:spPr>
          <a:xfrm>
            <a:off x="7651116" y="2291333"/>
            <a:ext cx="90805" cy="90170"/>
          </a:xfrm>
          <a:custGeom>
            <a:avLst/>
            <a:gdLst/>
            <a:ahLst/>
            <a:cxnLst/>
            <a:rect l="l" t="t" r="r" b="b"/>
            <a:pathLst>
              <a:path w="90804" h="90169">
                <a:moveTo>
                  <a:pt x="51434" y="0"/>
                </a:moveTo>
                <a:lnTo>
                  <a:pt x="34670" y="1650"/>
                </a:lnTo>
                <a:lnTo>
                  <a:pt x="20700" y="8889"/>
                </a:lnTo>
                <a:lnTo>
                  <a:pt x="9651" y="21716"/>
                </a:lnTo>
                <a:lnTo>
                  <a:pt x="0" y="37337"/>
                </a:lnTo>
                <a:lnTo>
                  <a:pt x="1650" y="54228"/>
                </a:lnTo>
                <a:lnTo>
                  <a:pt x="4699" y="66801"/>
                </a:lnTo>
                <a:lnTo>
                  <a:pt x="14731" y="79248"/>
                </a:lnTo>
                <a:lnTo>
                  <a:pt x="26034" y="87502"/>
                </a:lnTo>
                <a:lnTo>
                  <a:pt x="41528" y="90169"/>
                </a:lnTo>
                <a:lnTo>
                  <a:pt x="55625" y="89915"/>
                </a:lnTo>
                <a:lnTo>
                  <a:pt x="72389" y="81279"/>
                </a:lnTo>
                <a:lnTo>
                  <a:pt x="83438" y="68452"/>
                </a:lnTo>
                <a:lnTo>
                  <a:pt x="90296" y="54228"/>
                </a:lnTo>
                <a:lnTo>
                  <a:pt x="88645" y="37464"/>
                </a:lnTo>
                <a:lnTo>
                  <a:pt x="85598" y="24764"/>
                </a:lnTo>
                <a:lnTo>
                  <a:pt x="75564" y="12318"/>
                </a:lnTo>
                <a:lnTo>
                  <a:pt x="64261" y="4063"/>
                </a:lnTo>
                <a:lnTo>
                  <a:pt x="51434" y="0"/>
                </a:lnTo>
                <a:close/>
              </a:path>
            </a:pathLst>
          </a:custGeom>
          <a:solidFill>
            <a:srgbClr val="D9D9D9"/>
          </a:solidFill>
        </p:spPr>
        <p:txBody>
          <a:bodyPr wrap="square" lIns="0" tIns="0" rIns="0" bIns="0" rtlCol="0"/>
          <a:lstStyle/>
          <a:p>
            <a:endParaRPr/>
          </a:p>
        </p:txBody>
      </p:sp>
      <p:sp>
        <p:nvSpPr>
          <p:cNvPr id="171" name="object 171"/>
          <p:cNvSpPr/>
          <p:nvPr/>
        </p:nvSpPr>
        <p:spPr>
          <a:xfrm>
            <a:off x="7841234" y="2322323"/>
            <a:ext cx="80645" cy="80645"/>
          </a:xfrm>
          <a:custGeom>
            <a:avLst/>
            <a:gdLst/>
            <a:ahLst/>
            <a:cxnLst/>
            <a:rect l="l" t="t" r="r" b="b"/>
            <a:pathLst>
              <a:path w="80645" h="80644">
                <a:moveTo>
                  <a:pt x="47371" y="0"/>
                </a:moveTo>
                <a:lnTo>
                  <a:pt x="33274" y="253"/>
                </a:lnTo>
                <a:lnTo>
                  <a:pt x="17907" y="4699"/>
                </a:lnTo>
                <a:lnTo>
                  <a:pt x="6858" y="17525"/>
                </a:lnTo>
                <a:lnTo>
                  <a:pt x="0" y="31623"/>
                </a:lnTo>
                <a:lnTo>
                  <a:pt x="1777" y="48513"/>
                </a:lnTo>
                <a:lnTo>
                  <a:pt x="6096" y="56895"/>
                </a:lnTo>
                <a:lnTo>
                  <a:pt x="11811" y="68072"/>
                </a:lnTo>
                <a:lnTo>
                  <a:pt x="23241" y="76326"/>
                </a:lnTo>
                <a:lnTo>
                  <a:pt x="35941" y="80263"/>
                </a:lnTo>
                <a:lnTo>
                  <a:pt x="48514" y="77342"/>
                </a:lnTo>
                <a:lnTo>
                  <a:pt x="63881" y="72898"/>
                </a:lnTo>
                <a:lnTo>
                  <a:pt x="74930" y="60070"/>
                </a:lnTo>
                <a:lnTo>
                  <a:pt x="78994" y="47370"/>
                </a:lnTo>
                <a:lnTo>
                  <a:pt x="80137" y="29082"/>
                </a:lnTo>
                <a:lnTo>
                  <a:pt x="75819" y="20700"/>
                </a:lnTo>
                <a:lnTo>
                  <a:pt x="58674" y="1269"/>
                </a:lnTo>
                <a:lnTo>
                  <a:pt x="47371" y="0"/>
                </a:lnTo>
                <a:close/>
              </a:path>
            </a:pathLst>
          </a:custGeom>
          <a:solidFill>
            <a:srgbClr val="D9D9D9"/>
          </a:solidFill>
        </p:spPr>
        <p:txBody>
          <a:bodyPr wrap="square" lIns="0" tIns="0" rIns="0" bIns="0" rtlCol="0"/>
          <a:lstStyle/>
          <a:p>
            <a:endParaRPr/>
          </a:p>
        </p:txBody>
      </p:sp>
      <p:sp>
        <p:nvSpPr>
          <p:cNvPr id="172" name="object 172"/>
          <p:cNvSpPr/>
          <p:nvPr/>
        </p:nvSpPr>
        <p:spPr>
          <a:xfrm>
            <a:off x="7841234" y="2322323"/>
            <a:ext cx="80645" cy="80645"/>
          </a:xfrm>
          <a:custGeom>
            <a:avLst/>
            <a:gdLst/>
            <a:ahLst/>
            <a:cxnLst/>
            <a:rect l="l" t="t" r="r" b="b"/>
            <a:pathLst>
              <a:path w="80645" h="80644">
                <a:moveTo>
                  <a:pt x="47371" y="0"/>
                </a:moveTo>
                <a:lnTo>
                  <a:pt x="33274" y="253"/>
                </a:lnTo>
                <a:lnTo>
                  <a:pt x="17907" y="4699"/>
                </a:lnTo>
                <a:lnTo>
                  <a:pt x="6858" y="17525"/>
                </a:lnTo>
                <a:lnTo>
                  <a:pt x="0" y="31623"/>
                </a:lnTo>
                <a:lnTo>
                  <a:pt x="1777" y="48513"/>
                </a:lnTo>
                <a:lnTo>
                  <a:pt x="6096" y="56895"/>
                </a:lnTo>
                <a:lnTo>
                  <a:pt x="11811" y="68072"/>
                </a:lnTo>
                <a:lnTo>
                  <a:pt x="23241" y="76326"/>
                </a:lnTo>
                <a:lnTo>
                  <a:pt x="35941" y="80263"/>
                </a:lnTo>
                <a:lnTo>
                  <a:pt x="48514" y="77342"/>
                </a:lnTo>
                <a:lnTo>
                  <a:pt x="63881" y="72898"/>
                </a:lnTo>
                <a:lnTo>
                  <a:pt x="74930" y="60070"/>
                </a:lnTo>
                <a:lnTo>
                  <a:pt x="78994" y="47370"/>
                </a:lnTo>
                <a:lnTo>
                  <a:pt x="80137" y="29082"/>
                </a:lnTo>
                <a:lnTo>
                  <a:pt x="75819" y="20700"/>
                </a:lnTo>
                <a:lnTo>
                  <a:pt x="58674" y="1269"/>
                </a:lnTo>
                <a:lnTo>
                  <a:pt x="47371" y="0"/>
                </a:lnTo>
                <a:close/>
              </a:path>
            </a:pathLst>
          </a:custGeom>
          <a:solidFill>
            <a:srgbClr val="D9D9D9"/>
          </a:solidFill>
        </p:spPr>
        <p:txBody>
          <a:bodyPr wrap="square" lIns="0" tIns="0" rIns="0" bIns="0" rtlCol="0"/>
          <a:lstStyle/>
          <a:p>
            <a:endParaRPr/>
          </a:p>
        </p:txBody>
      </p:sp>
      <p:sp>
        <p:nvSpPr>
          <p:cNvPr id="173" name="object 173"/>
          <p:cNvSpPr/>
          <p:nvPr/>
        </p:nvSpPr>
        <p:spPr>
          <a:xfrm>
            <a:off x="8023481" y="2383028"/>
            <a:ext cx="70485" cy="71755"/>
          </a:xfrm>
          <a:custGeom>
            <a:avLst/>
            <a:gdLst/>
            <a:ahLst/>
            <a:cxnLst/>
            <a:rect l="l" t="t" r="r" b="b"/>
            <a:pathLst>
              <a:path w="70484" h="71755">
                <a:moveTo>
                  <a:pt x="41782" y="0"/>
                </a:moveTo>
                <a:lnTo>
                  <a:pt x="27686" y="126"/>
                </a:lnTo>
                <a:lnTo>
                  <a:pt x="16510" y="5969"/>
                </a:lnTo>
                <a:lnTo>
                  <a:pt x="6857" y="14477"/>
                </a:lnTo>
                <a:lnTo>
                  <a:pt x="0" y="28701"/>
                </a:lnTo>
                <a:lnTo>
                  <a:pt x="253" y="42672"/>
                </a:lnTo>
                <a:lnTo>
                  <a:pt x="4572" y="51054"/>
                </a:lnTo>
                <a:lnTo>
                  <a:pt x="10414" y="62230"/>
                </a:lnTo>
                <a:lnTo>
                  <a:pt x="20320" y="67691"/>
                </a:lnTo>
                <a:lnTo>
                  <a:pt x="33020" y="71755"/>
                </a:lnTo>
                <a:lnTo>
                  <a:pt x="42799" y="70231"/>
                </a:lnTo>
                <a:lnTo>
                  <a:pt x="56769" y="62992"/>
                </a:lnTo>
                <a:lnTo>
                  <a:pt x="66421" y="54356"/>
                </a:lnTo>
                <a:lnTo>
                  <a:pt x="70485" y="41656"/>
                </a:lnTo>
                <a:lnTo>
                  <a:pt x="70230" y="27686"/>
                </a:lnTo>
                <a:lnTo>
                  <a:pt x="68706" y="17780"/>
                </a:lnTo>
                <a:lnTo>
                  <a:pt x="60198" y="8127"/>
                </a:lnTo>
                <a:lnTo>
                  <a:pt x="53086" y="1143"/>
                </a:lnTo>
                <a:lnTo>
                  <a:pt x="41782" y="0"/>
                </a:lnTo>
                <a:close/>
              </a:path>
            </a:pathLst>
          </a:custGeom>
          <a:solidFill>
            <a:srgbClr val="D9D9D9"/>
          </a:solidFill>
        </p:spPr>
        <p:txBody>
          <a:bodyPr wrap="square" lIns="0" tIns="0" rIns="0" bIns="0" rtlCol="0"/>
          <a:lstStyle/>
          <a:p>
            <a:endParaRPr/>
          </a:p>
        </p:txBody>
      </p:sp>
      <p:sp>
        <p:nvSpPr>
          <p:cNvPr id="174" name="object 174"/>
          <p:cNvSpPr/>
          <p:nvPr/>
        </p:nvSpPr>
        <p:spPr>
          <a:xfrm>
            <a:off x="8023481" y="2383028"/>
            <a:ext cx="70485" cy="71755"/>
          </a:xfrm>
          <a:custGeom>
            <a:avLst/>
            <a:gdLst/>
            <a:ahLst/>
            <a:cxnLst/>
            <a:rect l="l" t="t" r="r" b="b"/>
            <a:pathLst>
              <a:path w="70484" h="71755">
                <a:moveTo>
                  <a:pt x="41782" y="0"/>
                </a:moveTo>
                <a:lnTo>
                  <a:pt x="27686" y="126"/>
                </a:lnTo>
                <a:lnTo>
                  <a:pt x="16510" y="5969"/>
                </a:lnTo>
                <a:lnTo>
                  <a:pt x="6857" y="14477"/>
                </a:lnTo>
                <a:lnTo>
                  <a:pt x="0" y="28701"/>
                </a:lnTo>
                <a:lnTo>
                  <a:pt x="253" y="42672"/>
                </a:lnTo>
                <a:lnTo>
                  <a:pt x="4572" y="51054"/>
                </a:lnTo>
                <a:lnTo>
                  <a:pt x="10414" y="62230"/>
                </a:lnTo>
                <a:lnTo>
                  <a:pt x="20320" y="67691"/>
                </a:lnTo>
                <a:lnTo>
                  <a:pt x="33020" y="71755"/>
                </a:lnTo>
                <a:lnTo>
                  <a:pt x="42799" y="70231"/>
                </a:lnTo>
                <a:lnTo>
                  <a:pt x="56769" y="62992"/>
                </a:lnTo>
                <a:lnTo>
                  <a:pt x="66421" y="54356"/>
                </a:lnTo>
                <a:lnTo>
                  <a:pt x="70485" y="41656"/>
                </a:lnTo>
                <a:lnTo>
                  <a:pt x="70230" y="27686"/>
                </a:lnTo>
                <a:lnTo>
                  <a:pt x="68706" y="17780"/>
                </a:lnTo>
                <a:lnTo>
                  <a:pt x="60198" y="8127"/>
                </a:lnTo>
                <a:lnTo>
                  <a:pt x="53086" y="1143"/>
                </a:lnTo>
                <a:lnTo>
                  <a:pt x="41782" y="0"/>
                </a:lnTo>
                <a:close/>
              </a:path>
            </a:pathLst>
          </a:custGeom>
          <a:solidFill>
            <a:srgbClr val="D9D9D9"/>
          </a:solidFill>
        </p:spPr>
        <p:txBody>
          <a:bodyPr wrap="square" lIns="0" tIns="0" rIns="0" bIns="0" rtlCol="0"/>
          <a:lstStyle/>
          <a:p>
            <a:endParaRPr/>
          </a:p>
        </p:txBody>
      </p:sp>
      <p:sp>
        <p:nvSpPr>
          <p:cNvPr id="175" name="object 175"/>
          <p:cNvSpPr/>
          <p:nvPr/>
        </p:nvSpPr>
        <p:spPr>
          <a:xfrm>
            <a:off x="8192008" y="2471928"/>
            <a:ext cx="66676" cy="64769"/>
          </a:xfrm>
          <a:custGeom>
            <a:avLst/>
            <a:gdLst/>
            <a:ahLst/>
            <a:cxnLst/>
            <a:rect l="l" t="t" r="r" b="b"/>
            <a:pathLst>
              <a:path w="66675" h="64769">
                <a:moveTo>
                  <a:pt x="36195" y="0"/>
                </a:moveTo>
                <a:lnTo>
                  <a:pt x="26416" y="1524"/>
                </a:lnTo>
                <a:lnTo>
                  <a:pt x="13843" y="4572"/>
                </a:lnTo>
                <a:lnTo>
                  <a:pt x="5461" y="15875"/>
                </a:lnTo>
                <a:lnTo>
                  <a:pt x="0" y="25781"/>
                </a:lnTo>
                <a:lnTo>
                  <a:pt x="253" y="39877"/>
                </a:lnTo>
                <a:lnTo>
                  <a:pt x="4572" y="48260"/>
                </a:lnTo>
                <a:lnTo>
                  <a:pt x="11684" y="55118"/>
                </a:lnTo>
                <a:lnTo>
                  <a:pt x="18796" y="62102"/>
                </a:lnTo>
                <a:lnTo>
                  <a:pt x="41401" y="64643"/>
                </a:lnTo>
                <a:lnTo>
                  <a:pt x="52577" y="58800"/>
                </a:lnTo>
                <a:lnTo>
                  <a:pt x="62230" y="50164"/>
                </a:lnTo>
                <a:lnTo>
                  <a:pt x="66294" y="37464"/>
                </a:lnTo>
                <a:lnTo>
                  <a:pt x="63246" y="24892"/>
                </a:lnTo>
                <a:lnTo>
                  <a:pt x="63246" y="17907"/>
                </a:lnTo>
                <a:lnTo>
                  <a:pt x="54610" y="8127"/>
                </a:lnTo>
                <a:lnTo>
                  <a:pt x="47498" y="1270"/>
                </a:lnTo>
                <a:lnTo>
                  <a:pt x="36195" y="0"/>
                </a:lnTo>
                <a:close/>
              </a:path>
            </a:pathLst>
          </a:custGeom>
          <a:solidFill>
            <a:srgbClr val="D9D9D9"/>
          </a:solidFill>
        </p:spPr>
        <p:txBody>
          <a:bodyPr wrap="square" lIns="0" tIns="0" rIns="0" bIns="0" rtlCol="0"/>
          <a:lstStyle/>
          <a:p>
            <a:endParaRPr/>
          </a:p>
        </p:txBody>
      </p:sp>
      <p:sp>
        <p:nvSpPr>
          <p:cNvPr id="176" name="object 176"/>
          <p:cNvSpPr/>
          <p:nvPr/>
        </p:nvSpPr>
        <p:spPr>
          <a:xfrm>
            <a:off x="8192008" y="2471928"/>
            <a:ext cx="66676" cy="64769"/>
          </a:xfrm>
          <a:custGeom>
            <a:avLst/>
            <a:gdLst/>
            <a:ahLst/>
            <a:cxnLst/>
            <a:rect l="l" t="t" r="r" b="b"/>
            <a:pathLst>
              <a:path w="66675" h="64769">
                <a:moveTo>
                  <a:pt x="36195" y="0"/>
                </a:moveTo>
                <a:lnTo>
                  <a:pt x="26416" y="1524"/>
                </a:lnTo>
                <a:lnTo>
                  <a:pt x="13843" y="4572"/>
                </a:lnTo>
                <a:lnTo>
                  <a:pt x="5461" y="15875"/>
                </a:lnTo>
                <a:lnTo>
                  <a:pt x="0" y="25781"/>
                </a:lnTo>
                <a:lnTo>
                  <a:pt x="253" y="39877"/>
                </a:lnTo>
                <a:lnTo>
                  <a:pt x="4572" y="48260"/>
                </a:lnTo>
                <a:lnTo>
                  <a:pt x="11684" y="55118"/>
                </a:lnTo>
                <a:lnTo>
                  <a:pt x="18796" y="62102"/>
                </a:lnTo>
                <a:lnTo>
                  <a:pt x="41401" y="64643"/>
                </a:lnTo>
                <a:lnTo>
                  <a:pt x="52577" y="58800"/>
                </a:lnTo>
                <a:lnTo>
                  <a:pt x="62230" y="50164"/>
                </a:lnTo>
                <a:lnTo>
                  <a:pt x="66294" y="37464"/>
                </a:lnTo>
                <a:lnTo>
                  <a:pt x="63246" y="24892"/>
                </a:lnTo>
                <a:lnTo>
                  <a:pt x="63246" y="17907"/>
                </a:lnTo>
                <a:lnTo>
                  <a:pt x="54610" y="8127"/>
                </a:lnTo>
                <a:lnTo>
                  <a:pt x="47498" y="1270"/>
                </a:lnTo>
                <a:lnTo>
                  <a:pt x="36195" y="0"/>
                </a:lnTo>
                <a:close/>
              </a:path>
            </a:pathLst>
          </a:custGeom>
          <a:solidFill>
            <a:srgbClr val="D9D9D9"/>
          </a:solidFill>
        </p:spPr>
        <p:txBody>
          <a:bodyPr wrap="square" lIns="0" tIns="0" rIns="0" bIns="0" rtlCol="0"/>
          <a:lstStyle/>
          <a:p>
            <a:endParaRPr/>
          </a:p>
        </p:txBody>
      </p:sp>
      <p:sp>
        <p:nvSpPr>
          <p:cNvPr id="177" name="object 177"/>
          <p:cNvSpPr/>
          <p:nvPr/>
        </p:nvSpPr>
        <p:spPr>
          <a:xfrm>
            <a:off x="8343010" y="2588005"/>
            <a:ext cx="59055" cy="60325"/>
          </a:xfrm>
          <a:custGeom>
            <a:avLst/>
            <a:gdLst/>
            <a:ahLst/>
            <a:cxnLst/>
            <a:rect l="l" t="t" r="r" b="b"/>
            <a:pathLst>
              <a:path w="59054" h="60325">
                <a:moveTo>
                  <a:pt x="23241" y="0"/>
                </a:moveTo>
                <a:lnTo>
                  <a:pt x="12065" y="5715"/>
                </a:lnTo>
                <a:lnTo>
                  <a:pt x="5207" y="12827"/>
                </a:lnTo>
                <a:lnTo>
                  <a:pt x="1143" y="25527"/>
                </a:lnTo>
                <a:lnTo>
                  <a:pt x="0" y="36830"/>
                </a:lnTo>
                <a:lnTo>
                  <a:pt x="4318" y="45212"/>
                </a:lnTo>
                <a:lnTo>
                  <a:pt x="11430" y="52197"/>
                </a:lnTo>
                <a:lnTo>
                  <a:pt x="17145" y="56261"/>
                </a:lnTo>
                <a:lnTo>
                  <a:pt x="25527" y="58928"/>
                </a:lnTo>
                <a:lnTo>
                  <a:pt x="36830" y="60198"/>
                </a:lnTo>
                <a:lnTo>
                  <a:pt x="48006" y="54356"/>
                </a:lnTo>
                <a:lnTo>
                  <a:pt x="54864" y="47244"/>
                </a:lnTo>
                <a:lnTo>
                  <a:pt x="58928" y="34544"/>
                </a:lnTo>
                <a:lnTo>
                  <a:pt x="57404" y="24765"/>
                </a:lnTo>
                <a:lnTo>
                  <a:pt x="57277" y="17780"/>
                </a:lnTo>
                <a:lnTo>
                  <a:pt x="50165" y="10795"/>
                </a:lnTo>
                <a:lnTo>
                  <a:pt x="43053" y="3937"/>
                </a:lnTo>
                <a:lnTo>
                  <a:pt x="34544" y="1143"/>
                </a:lnTo>
                <a:lnTo>
                  <a:pt x="23241" y="0"/>
                </a:lnTo>
                <a:close/>
              </a:path>
            </a:pathLst>
          </a:custGeom>
          <a:solidFill>
            <a:srgbClr val="D9D9D9"/>
          </a:solidFill>
        </p:spPr>
        <p:txBody>
          <a:bodyPr wrap="square" lIns="0" tIns="0" rIns="0" bIns="0" rtlCol="0"/>
          <a:lstStyle/>
          <a:p>
            <a:endParaRPr/>
          </a:p>
        </p:txBody>
      </p:sp>
      <p:sp>
        <p:nvSpPr>
          <p:cNvPr id="178" name="object 178"/>
          <p:cNvSpPr/>
          <p:nvPr/>
        </p:nvSpPr>
        <p:spPr>
          <a:xfrm>
            <a:off x="8343010" y="2588005"/>
            <a:ext cx="59055" cy="60325"/>
          </a:xfrm>
          <a:custGeom>
            <a:avLst/>
            <a:gdLst/>
            <a:ahLst/>
            <a:cxnLst/>
            <a:rect l="l" t="t" r="r" b="b"/>
            <a:pathLst>
              <a:path w="59054" h="60325">
                <a:moveTo>
                  <a:pt x="23241" y="0"/>
                </a:moveTo>
                <a:lnTo>
                  <a:pt x="12065" y="5715"/>
                </a:lnTo>
                <a:lnTo>
                  <a:pt x="5207" y="12827"/>
                </a:lnTo>
                <a:lnTo>
                  <a:pt x="1143" y="25527"/>
                </a:lnTo>
                <a:lnTo>
                  <a:pt x="0" y="36830"/>
                </a:lnTo>
                <a:lnTo>
                  <a:pt x="4318" y="45212"/>
                </a:lnTo>
                <a:lnTo>
                  <a:pt x="11430" y="52197"/>
                </a:lnTo>
                <a:lnTo>
                  <a:pt x="17145" y="56261"/>
                </a:lnTo>
                <a:lnTo>
                  <a:pt x="25527" y="58928"/>
                </a:lnTo>
                <a:lnTo>
                  <a:pt x="36830" y="60198"/>
                </a:lnTo>
                <a:lnTo>
                  <a:pt x="48006" y="54356"/>
                </a:lnTo>
                <a:lnTo>
                  <a:pt x="54864" y="47244"/>
                </a:lnTo>
                <a:lnTo>
                  <a:pt x="58928" y="34544"/>
                </a:lnTo>
                <a:lnTo>
                  <a:pt x="57404" y="24765"/>
                </a:lnTo>
                <a:lnTo>
                  <a:pt x="57277" y="17780"/>
                </a:lnTo>
                <a:lnTo>
                  <a:pt x="50165" y="10795"/>
                </a:lnTo>
                <a:lnTo>
                  <a:pt x="43053" y="3937"/>
                </a:lnTo>
                <a:lnTo>
                  <a:pt x="34544" y="1143"/>
                </a:lnTo>
                <a:lnTo>
                  <a:pt x="23241" y="0"/>
                </a:lnTo>
                <a:close/>
              </a:path>
            </a:pathLst>
          </a:custGeom>
          <a:solidFill>
            <a:srgbClr val="D9D9D9"/>
          </a:solidFill>
        </p:spPr>
        <p:txBody>
          <a:bodyPr wrap="square" lIns="0" tIns="0" rIns="0" bIns="0" rtlCol="0"/>
          <a:lstStyle/>
          <a:p>
            <a:endParaRPr/>
          </a:p>
        </p:txBody>
      </p:sp>
      <p:sp>
        <p:nvSpPr>
          <p:cNvPr id="179" name="object 179"/>
          <p:cNvSpPr/>
          <p:nvPr/>
        </p:nvSpPr>
        <p:spPr>
          <a:xfrm>
            <a:off x="8472805" y="2729357"/>
            <a:ext cx="52069" cy="53975"/>
          </a:xfrm>
          <a:custGeom>
            <a:avLst/>
            <a:gdLst/>
            <a:ahLst/>
            <a:cxnLst/>
            <a:rect l="l" t="t" r="r" b="b"/>
            <a:pathLst>
              <a:path w="52070" h="53975">
                <a:moveTo>
                  <a:pt x="30479" y="0"/>
                </a:moveTo>
                <a:lnTo>
                  <a:pt x="20700" y="1523"/>
                </a:lnTo>
                <a:lnTo>
                  <a:pt x="12319" y="5841"/>
                </a:lnTo>
                <a:lnTo>
                  <a:pt x="5461" y="12953"/>
                </a:lnTo>
                <a:lnTo>
                  <a:pt x="0" y="22859"/>
                </a:lnTo>
                <a:lnTo>
                  <a:pt x="1524" y="32765"/>
                </a:lnTo>
                <a:lnTo>
                  <a:pt x="1650" y="39750"/>
                </a:lnTo>
                <a:lnTo>
                  <a:pt x="8763" y="46608"/>
                </a:lnTo>
                <a:lnTo>
                  <a:pt x="14477" y="50800"/>
                </a:lnTo>
                <a:lnTo>
                  <a:pt x="22860" y="53466"/>
                </a:lnTo>
                <a:lnTo>
                  <a:pt x="32766" y="51942"/>
                </a:lnTo>
                <a:lnTo>
                  <a:pt x="41148" y="47625"/>
                </a:lnTo>
                <a:lnTo>
                  <a:pt x="48005" y="40512"/>
                </a:lnTo>
                <a:lnTo>
                  <a:pt x="50673" y="32003"/>
                </a:lnTo>
                <a:lnTo>
                  <a:pt x="51943" y="20700"/>
                </a:lnTo>
                <a:lnTo>
                  <a:pt x="49022" y="15112"/>
                </a:lnTo>
                <a:lnTo>
                  <a:pt x="44703" y="6730"/>
                </a:lnTo>
                <a:lnTo>
                  <a:pt x="38989" y="2666"/>
                </a:lnTo>
                <a:lnTo>
                  <a:pt x="30479" y="0"/>
                </a:lnTo>
                <a:close/>
              </a:path>
            </a:pathLst>
          </a:custGeom>
          <a:solidFill>
            <a:srgbClr val="D9D9D9"/>
          </a:solidFill>
        </p:spPr>
        <p:txBody>
          <a:bodyPr wrap="square" lIns="0" tIns="0" rIns="0" bIns="0" rtlCol="0"/>
          <a:lstStyle/>
          <a:p>
            <a:endParaRPr/>
          </a:p>
        </p:txBody>
      </p:sp>
      <p:sp>
        <p:nvSpPr>
          <p:cNvPr id="180" name="object 180"/>
          <p:cNvSpPr/>
          <p:nvPr/>
        </p:nvSpPr>
        <p:spPr>
          <a:xfrm>
            <a:off x="8472805" y="2729357"/>
            <a:ext cx="52069" cy="53975"/>
          </a:xfrm>
          <a:custGeom>
            <a:avLst/>
            <a:gdLst/>
            <a:ahLst/>
            <a:cxnLst/>
            <a:rect l="l" t="t" r="r" b="b"/>
            <a:pathLst>
              <a:path w="52070" h="53975">
                <a:moveTo>
                  <a:pt x="30479" y="0"/>
                </a:moveTo>
                <a:lnTo>
                  <a:pt x="20700" y="1523"/>
                </a:lnTo>
                <a:lnTo>
                  <a:pt x="12319" y="5841"/>
                </a:lnTo>
                <a:lnTo>
                  <a:pt x="5461" y="12953"/>
                </a:lnTo>
                <a:lnTo>
                  <a:pt x="0" y="22859"/>
                </a:lnTo>
                <a:lnTo>
                  <a:pt x="1524" y="32765"/>
                </a:lnTo>
                <a:lnTo>
                  <a:pt x="1650" y="39750"/>
                </a:lnTo>
                <a:lnTo>
                  <a:pt x="8763" y="46608"/>
                </a:lnTo>
                <a:lnTo>
                  <a:pt x="14477" y="50800"/>
                </a:lnTo>
                <a:lnTo>
                  <a:pt x="22860" y="53466"/>
                </a:lnTo>
                <a:lnTo>
                  <a:pt x="32766" y="51942"/>
                </a:lnTo>
                <a:lnTo>
                  <a:pt x="41148" y="47625"/>
                </a:lnTo>
                <a:lnTo>
                  <a:pt x="48005" y="40512"/>
                </a:lnTo>
                <a:lnTo>
                  <a:pt x="50673" y="32003"/>
                </a:lnTo>
                <a:lnTo>
                  <a:pt x="51943" y="20700"/>
                </a:lnTo>
                <a:lnTo>
                  <a:pt x="49022" y="15112"/>
                </a:lnTo>
                <a:lnTo>
                  <a:pt x="44703" y="6730"/>
                </a:lnTo>
                <a:lnTo>
                  <a:pt x="38989" y="2666"/>
                </a:lnTo>
                <a:lnTo>
                  <a:pt x="30479" y="0"/>
                </a:lnTo>
                <a:close/>
              </a:path>
            </a:pathLst>
          </a:custGeom>
          <a:solidFill>
            <a:srgbClr val="D9D9D9"/>
          </a:solidFill>
        </p:spPr>
        <p:txBody>
          <a:bodyPr wrap="square" lIns="0" tIns="0" rIns="0" bIns="0" rtlCol="0"/>
          <a:lstStyle/>
          <a:p>
            <a:endParaRPr/>
          </a:p>
        </p:txBody>
      </p:sp>
      <p:sp>
        <p:nvSpPr>
          <p:cNvPr id="181" name="object 181"/>
          <p:cNvSpPr/>
          <p:nvPr/>
        </p:nvSpPr>
        <p:spPr>
          <a:xfrm>
            <a:off x="8574914" y="2890773"/>
            <a:ext cx="48260" cy="45720"/>
          </a:xfrm>
          <a:custGeom>
            <a:avLst/>
            <a:gdLst/>
            <a:ahLst/>
            <a:cxnLst/>
            <a:rect l="l" t="t" r="r" b="b"/>
            <a:pathLst>
              <a:path w="48259" h="45719">
                <a:moveTo>
                  <a:pt x="33400" y="0"/>
                </a:moveTo>
                <a:lnTo>
                  <a:pt x="19430" y="253"/>
                </a:lnTo>
                <a:lnTo>
                  <a:pt x="9525" y="1777"/>
                </a:lnTo>
                <a:lnTo>
                  <a:pt x="2666" y="8889"/>
                </a:lnTo>
                <a:lnTo>
                  <a:pt x="0" y="17399"/>
                </a:lnTo>
                <a:lnTo>
                  <a:pt x="1523" y="27177"/>
                </a:lnTo>
                <a:lnTo>
                  <a:pt x="1650" y="34289"/>
                </a:lnTo>
                <a:lnTo>
                  <a:pt x="7365" y="38353"/>
                </a:lnTo>
                <a:lnTo>
                  <a:pt x="14477" y="45338"/>
                </a:lnTo>
                <a:lnTo>
                  <a:pt x="28447" y="45085"/>
                </a:lnTo>
                <a:lnTo>
                  <a:pt x="45211" y="36449"/>
                </a:lnTo>
                <a:lnTo>
                  <a:pt x="47878" y="27939"/>
                </a:lnTo>
                <a:lnTo>
                  <a:pt x="46354" y="18161"/>
                </a:lnTo>
                <a:lnTo>
                  <a:pt x="46227" y="11049"/>
                </a:lnTo>
                <a:lnTo>
                  <a:pt x="40639" y="6985"/>
                </a:lnTo>
                <a:lnTo>
                  <a:pt x="33400" y="0"/>
                </a:lnTo>
                <a:close/>
              </a:path>
            </a:pathLst>
          </a:custGeom>
          <a:solidFill>
            <a:srgbClr val="D9D9D9"/>
          </a:solidFill>
        </p:spPr>
        <p:txBody>
          <a:bodyPr wrap="square" lIns="0" tIns="0" rIns="0" bIns="0" rtlCol="0"/>
          <a:lstStyle/>
          <a:p>
            <a:endParaRPr/>
          </a:p>
        </p:txBody>
      </p:sp>
      <p:sp>
        <p:nvSpPr>
          <p:cNvPr id="182" name="object 182"/>
          <p:cNvSpPr/>
          <p:nvPr/>
        </p:nvSpPr>
        <p:spPr>
          <a:xfrm>
            <a:off x="8574914" y="2890773"/>
            <a:ext cx="48260" cy="45720"/>
          </a:xfrm>
          <a:custGeom>
            <a:avLst/>
            <a:gdLst/>
            <a:ahLst/>
            <a:cxnLst/>
            <a:rect l="l" t="t" r="r" b="b"/>
            <a:pathLst>
              <a:path w="48259" h="45719">
                <a:moveTo>
                  <a:pt x="33400" y="0"/>
                </a:moveTo>
                <a:lnTo>
                  <a:pt x="19430" y="253"/>
                </a:lnTo>
                <a:lnTo>
                  <a:pt x="9525" y="1777"/>
                </a:lnTo>
                <a:lnTo>
                  <a:pt x="2666" y="8889"/>
                </a:lnTo>
                <a:lnTo>
                  <a:pt x="0" y="17399"/>
                </a:lnTo>
                <a:lnTo>
                  <a:pt x="1523" y="27177"/>
                </a:lnTo>
                <a:lnTo>
                  <a:pt x="1650" y="34289"/>
                </a:lnTo>
                <a:lnTo>
                  <a:pt x="7365" y="38353"/>
                </a:lnTo>
                <a:lnTo>
                  <a:pt x="14477" y="45338"/>
                </a:lnTo>
                <a:lnTo>
                  <a:pt x="28447" y="45085"/>
                </a:lnTo>
                <a:lnTo>
                  <a:pt x="45211" y="36449"/>
                </a:lnTo>
                <a:lnTo>
                  <a:pt x="47878" y="27939"/>
                </a:lnTo>
                <a:lnTo>
                  <a:pt x="46354" y="18161"/>
                </a:lnTo>
                <a:lnTo>
                  <a:pt x="46227" y="11049"/>
                </a:lnTo>
                <a:lnTo>
                  <a:pt x="40639" y="6985"/>
                </a:lnTo>
                <a:lnTo>
                  <a:pt x="33400" y="0"/>
                </a:lnTo>
                <a:close/>
              </a:path>
            </a:pathLst>
          </a:custGeom>
          <a:solidFill>
            <a:srgbClr val="D9D9D9"/>
          </a:solidFill>
        </p:spPr>
        <p:txBody>
          <a:bodyPr wrap="square" lIns="0" tIns="0" rIns="0" bIns="0" rtlCol="0"/>
          <a:lstStyle/>
          <a:p>
            <a:endParaRPr/>
          </a:p>
        </p:txBody>
      </p:sp>
      <p:sp>
        <p:nvSpPr>
          <p:cNvPr id="183" name="object 183"/>
          <p:cNvSpPr/>
          <p:nvPr/>
        </p:nvSpPr>
        <p:spPr>
          <a:xfrm>
            <a:off x="8647811" y="3065527"/>
            <a:ext cx="42545" cy="42545"/>
          </a:xfrm>
          <a:custGeom>
            <a:avLst/>
            <a:gdLst/>
            <a:ahLst/>
            <a:cxnLst/>
            <a:rect l="l" t="t" r="r" b="b"/>
            <a:pathLst>
              <a:path w="42545" h="42544">
                <a:moveTo>
                  <a:pt x="26416" y="0"/>
                </a:moveTo>
                <a:lnTo>
                  <a:pt x="19431" y="126"/>
                </a:lnTo>
                <a:lnTo>
                  <a:pt x="9525" y="1650"/>
                </a:lnTo>
                <a:lnTo>
                  <a:pt x="2667" y="8762"/>
                </a:lnTo>
                <a:lnTo>
                  <a:pt x="0" y="17272"/>
                </a:lnTo>
                <a:lnTo>
                  <a:pt x="0" y="24257"/>
                </a:lnTo>
                <a:lnTo>
                  <a:pt x="5842" y="35433"/>
                </a:lnTo>
                <a:lnTo>
                  <a:pt x="11557" y="39624"/>
                </a:lnTo>
                <a:lnTo>
                  <a:pt x="19939" y="42290"/>
                </a:lnTo>
                <a:lnTo>
                  <a:pt x="27050" y="42163"/>
                </a:lnTo>
                <a:lnTo>
                  <a:pt x="35433" y="37846"/>
                </a:lnTo>
                <a:lnTo>
                  <a:pt x="39497" y="32131"/>
                </a:lnTo>
                <a:lnTo>
                  <a:pt x="42164" y="23749"/>
                </a:lnTo>
                <a:lnTo>
                  <a:pt x="42037" y="9651"/>
                </a:lnTo>
                <a:lnTo>
                  <a:pt x="36322" y="5461"/>
                </a:lnTo>
                <a:lnTo>
                  <a:pt x="30607" y="1397"/>
                </a:lnTo>
                <a:lnTo>
                  <a:pt x="26416" y="0"/>
                </a:lnTo>
                <a:close/>
              </a:path>
            </a:pathLst>
          </a:custGeom>
          <a:solidFill>
            <a:srgbClr val="D9D9D9"/>
          </a:solidFill>
        </p:spPr>
        <p:txBody>
          <a:bodyPr wrap="square" lIns="0" tIns="0" rIns="0" bIns="0" rtlCol="0"/>
          <a:lstStyle/>
          <a:p>
            <a:endParaRPr/>
          </a:p>
        </p:txBody>
      </p:sp>
      <p:sp>
        <p:nvSpPr>
          <p:cNvPr id="184" name="object 184"/>
          <p:cNvSpPr/>
          <p:nvPr/>
        </p:nvSpPr>
        <p:spPr>
          <a:xfrm>
            <a:off x="8647811" y="3065527"/>
            <a:ext cx="42545" cy="42545"/>
          </a:xfrm>
          <a:custGeom>
            <a:avLst/>
            <a:gdLst/>
            <a:ahLst/>
            <a:cxnLst/>
            <a:rect l="l" t="t" r="r" b="b"/>
            <a:pathLst>
              <a:path w="42545" h="42544">
                <a:moveTo>
                  <a:pt x="26416" y="0"/>
                </a:moveTo>
                <a:lnTo>
                  <a:pt x="19431" y="126"/>
                </a:lnTo>
                <a:lnTo>
                  <a:pt x="9525" y="1650"/>
                </a:lnTo>
                <a:lnTo>
                  <a:pt x="2667" y="8762"/>
                </a:lnTo>
                <a:lnTo>
                  <a:pt x="0" y="17272"/>
                </a:lnTo>
                <a:lnTo>
                  <a:pt x="0" y="24257"/>
                </a:lnTo>
                <a:lnTo>
                  <a:pt x="5842" y="35433"/>
                </a:lnTo>
                <a:lnTo>
                  <a:pt x="11557" y="39624"/>
                </a:lnTo>
                <a:lnTo>
                  <a:pt x="19939" y="42290"/>
                </a:lnTo>
                <a:lnTo>
                  <a:pt x="27050" y="42163"/>
                </a:lnTo>
                <a:lnTo>
                  <a:pt x="35433" y="37846"/>
                </a:lnTo>
                <a:lnTo>
                  <a:pt x="39497" y="32131"/>
                </a:lnTo>
                <a:lnTo>
                  <a:pt x="42164" y="23749"/>
                </a:lnTo>
                <a:lnTo>
                  <a:pt x="42037" y="9651"/>
                </a:lnTo>
                <a:lnTo>
                  <a:pt x="36322" y="5461"/>
                </a:lnTo>
                <a:lnTo>
                  <a:pt x="30607" y="1397"/>
                </a:lnTo>
                <a:lnTo>
                  <a:pt x="26416" y="0"/>
                </a:lnTo>
                <a:close/>
              </a:path>
            </a:pathLst>
          </a:custGeom>
          <a:solidFill>
            <a:srgbClr val="D9D9D9"/>
          </a:solidFill>
        </p:spPr>
        <p:txBody>
          <a:bodyPr wrap="square" lIns="0" tIns="0" rIns="0" bIns="0" rtlCol="0"/>
          <a:lstStyle/>
          <a:p>
            <a:endParaRPr/>
          </a:p>
        </p:txBody>
      </p:sp>
      <p:sp>
        <p:nvSpPr>
          <p:cNvPr id="185" name="object 185"/>
          <p:cNvSpPr/>
          <p:nvPr/>
        </p:nvSpPr>
        <p:spPr>
          <a:xfrm>
            <a:off x="8691371" y="3247771"/>
            <a:ext cx="36830" cy="41275"/>
          </a:xfrm>
          <a:custGeom>
            <a:avLst/>
            <a:gdLst/>
            <a:ahLst/>
            <a:cxnLst/>
            <a:rect l="l" t="t" r="r" b="b"/>
            <a:pathLst>
              <a:path w="36829" h="41275">
                <a:moveTo>
                  <a:pt x="20700" y="0"/>
                </a:moveTo>
                <a:lnTo>
                  <a:pt x="15112" y="2920"/>
                </a:lnTo>
                <a:lnTo>
                  <a:pt x="8127" y="2920"/>
                </a:lnTo>
                <a:lnTo>
                  <a:pt x="1143" y="10032"/>
                </a:lnTo>
                <a:lnTo>
                  <a:pt x="1397" y="24129"/>
                </a:lnTo>
                <a:lnTo>
                  <a:pt x="0" y="28448"/>
                </a:lnTo>
                <a:lnTo>
                  <a:pt x="5714" y="32512"/>
                </a:lnTo>
                <a:lnTo>
                  <a:pt x="17018" y="40766"/>
                </a:lnTo>
                <a:lnTo>
                  <a:pt x="22605" y="37845"/>
                </a:lnTo>
                <a:lnTo>
                  <a:pt x="29718" y="37845"/>
                </a:lnTo>
                <a:lnTo>
                  <a:pt x="36575" y="30606"/>
                </a:lnTo>
                <a:lnTo>
                  <a:pt x="36322" y="9525"/>
                </a:lnTo>
                <a:lnTo>
                  <a:pt x="32003" y="8254"/>
                </a:lnTo>
                <a:lnTo>
                  <a:pt x="26416" y="4063"/>
                </a:lnTo>
                <a:lnTo>
                  <a:pt x="20700" y="0"/>
                </a:lnTo>
                <a:close/>
              </a:path>
            </a:pathLst>
          </a:custGeom>
          <a:solidFill>
            <a:srgbClr val="D9D9D9"/>
          </a:solidFill>
        </p:spPr>
        <p:txBody>
          <a:bodyPr wrap="square" lIns="0" tIns="0" rIns="0" bIns="0" rtlCol="0"/>
          <a:lstStyle/>
          <a:p>
            <a:endParaRPr/>
          </a:p>
        </p:txBody>
      </p:sp>
      <p:sp>
        <p:nvSpPr>
          <p:cNvPr id="186" name="object 186"/>
          <p:cNvSpPr/>
          <p:nvPr/>
        </p:nvSpPr>
        <p:spPr>
          <a:xfrm>
            <a:off x="8691371" y="3247771"/>
            <a:ext cx="36830" cy="41275"/>
          </a:xfrm>
          <a:custGeom>
            <a:avLst/>
            <a:gdLst/>
            <a:ahLst/>
            <a:cxnLst/>
            <a:rect l="l" t="t" r="r" b="b"/>
            <a:pathLst>
              <a:path w="36829" h="41275">
                <a:moveTo>
                  <a:pt x="20700" y="0"/>
                </a:moveTo>
                <a:lnTo>
                  <a:pt x="15112" y="2920"/>
                </a:lnTo>
                <a:lnTo>
                  <a:pt x="8127" y="2920"/>
                </a:lnTo>
                <a:lnTo>
                  <a:pt x="1143" y="10032"/>
                </a:lnTo>
                <a:lnTo>
                  <a:pt x="1397" y="24129"/>
                </a:lnTo>
                <a:lnTo>
                  <a:pt x="0" y="28448"/>
                </a:lnTo>
                <a:lnTo>
                  <a:pt x="5714" y="32512"/>
                </a:lnTo>
                <a:lnTo>
                  <a:pt x="17018" y="40766"/>
                </a:lnTo>
                <a:lnTo>
                  <a:pt x="22605" y="37845"/>
                </a:lnTo>
                <a:lnTo>
                  <a:pt x="29718" y="37845"/>
                </a:lnTo>
                <a:lnTo>
                  <a:pt x="36575" y="30606"/>
                </a:lnTo>
                <a:lnTo>
                  <a:pt x="36322" y="9525"/>
                </a:lnTo>
                <a:lnTo>
                  <a:pt x="32003" y="8254"/>
                </a:lnTo>
                <a:lnTo>
                  <a:pt x="26416" y="4063"/>
                </a:lnTo>
                <a:lnTo>
                  <a:pt x="20700" y="0"/>
                </a:lnTo>
                <a:close/>
              </a:path>
            </a:pathLst>
          </a:custGeom>
          <a:solidFill>
            <a:srgbClr val="D9D9D9"/>
          </a:solidFill>
        </p:spPr>
        <p:txBody>
          <a:bodyPr wrap="square" lIns="0" tIns="0" rIns="0" bIns="0" rtlCol="0"/>
          <a:lstStyle/>
          <a:p>
            <a:endParaRPr/>
          </a:p>
        </p:txBody>
      </p:sp>
      <p:sp>
        <p:nvSpPr>
          <p:cNvPr id="187" name="object 187"/>
          <p:cNvSpPr/>
          <p:nvPr/>
        </p:nvSpPr>
        <p:spPr>
          <a:xfrm>
            <a:off x="7276591" y="2335022"/>
            <a:ext cx="102870" cy="99695"/>
          </a:xfrm>
          <a:custGeom>
            <a:avLst/>
            <a:gdLst/>
            <a:ahLst/>
            <a:cxnLst/>
            <a:rect l="l" t="t" r="r" b="b"/>
            <a:pathLst>
              <a:path w="102870" h="99694">
                <a:moveTo>
                  <a:pt x="41528" y="0"/>
                </a:moveTo>
                <a:lnTo>
                  <a:pt x="21971" y="10160"/>
                </a:lnTo>
                <a:lnTo>
                  <a:pt x="10922" y="22987"/>
                </a:lnTo>
                <a:lnTo>
                  <a:pt x="2793" y="41275"/>
                </a:lnTo>
                <a:lnTo>
                  <a:pt x="0" y="49783"/>
                </a:lnTo>
                <a:lnTo>
                  <a:pt x="1650" y="59689"/>
                </a:lnTo>
                <a:lnTo>
                  <a:pt x="8889" y="73532"/>
                </a:lnTo>
                <a:lnTo>
                  <a:pt x="18923" y="86105"/>
                </a:lnTo>
                <a:lnTo>
                  <a:pt x="30225" y="94361"/>
                </a:lnTo>
                <a:lnTo>
                  <a:pt x="47243" y="99694"/>
                </a:lnTo>
                <a:lnTo>
                  <a:pt x="61213" y="99567"/>
                </a:lnTo>
                <a:lnTo>
                  <a:pt x="80772" y="89407"/>
                </a:lnTo>
                <a:lnTo>
                  <a:pt x="91821" y="76580"/>
                </a:lnTo>
                <a:lnTo>
                  <a:pt x="99949" y="58165"/>
                </a:lnTo>
                <a:lnTo>
                  <a:pt x="102615" y="49656"/>
                </a:lnTo>
                <a:lnTo>
                  <a:pt x="101091" y="39877"/>
                </a:lnTo>
                <a:lnTo>
                  <a:pt x="95376" y="28701"/>
                </a:lnTo>
                <a:lnTo>
                  <a:pt x="88137" y="14731"/>
                </a:lnTo>
                <a:lnTo>
                  <a:pt x="72516" y="5206"/>
                </a:lnTo>
                <a:lnTo>
                  <a:pt x="41528" y="0"/>
                </a:lnTo>
                <a:close/>
              </a:path>
            </a:pathLst>
          </a:custGeom>
          <a:solidFill>
            <a:srgbClr val="D9D9D9"/>
          </a:solidFill>
        </p:spPr>
        <p:txBody>
          <a:bodyPr wrap="square" lIns="0" tIns="0" rIns="0" bIns="0" rtlCol="0"/>
          <a:lstStyle/>
          <a:p>
            <a:endParaRPr/>
          </a:p>
        </p:txBody>
      </p:sp>
      <p:sp>
        <p:nvSpPr>
          <p:cNvPr id="188" name="object 188"/>
          <p:cNvSpPr/>
          <p:nvPr/>
        </p:nvSpPr>
        <p:spPr>
          <a:xfrm>
            <a:off x="7276591" y="2335022"/>
            <a:ext cx="102870" cy="99695"/>
          </a:xfrm>
          <a:custGeom>
            <a:avLst/>
            <a:gdLst/>
            <a:ahLst/>
            <a:cxnLst/>
            <a:rect l="l" t="t" r="r" b="b"/>
            <a:pathLst>
              <a:path w="102870" h="99694">
                <a:moveTo>
                  <a:pt x="41528" y="0"/>
                </a:moveTo>
                <a:lnTo>
                  <a:pt x="21971" y="10160"/>
                </a:lnTo>
                <a:lnTo>
                  <a:pt x="10922" y="22987"/>
                </a:lnTo>
                <a:lnTo>
                  <a:pt x="2793" y="41275"/>
                </a:lnTo>
                <a:lnTo>
                  <a:pt x="0" y="49783"/>
                </a:lnTo>
                <a:lnTo>
                  <a:pt x="1650" y="59689"/>
                </a:lnTo>
                <a:lnTo>
                  <a:pt x="8889" y="73532"/>
                </a:lnTo>
                <a:lnTo>
                  <a:pt x="18923" y="86105"/>
                </a:lnTo>
                <a:lnTo>
                  <a:pt x="30225" y="94361"/>
                </a:lnTo>
                <a:lnTo>
                  <a:pt x="47243" y="99694"/>
                </a:lnTo>
                <a:lnTo>
                  <a:pt x="61213" y="99567"/>
                </a:lnTo>
                <a:lnTo>
                  <a:pt x="80772" y="89407"/>
                </a:lnTo>
                <a:lnTo>
                  <a:pt x="91821" y="76580"/>
                </a:lnTo>
                <a:lnTo>
                  <a:pt x="99949" y="58165"/>
                </a:lnTo>
                <a:lnTo>
                  <a:pt x="102615" y="49656"/>
                </a:lnTo>
                <a:lnTo>
                  <a:pt x="101091" y="39877"/>
                </a:lnTo>
                <a:lnTo>
                  <a:pt x="95376" y="28701"/>
                </a:lnTo>
                <a:lnTo>
                  <a:pt x="88137" y="14731"/>
                </a:lnTo>
                <a:lnTo>
                  <a:pt x="72516" y="5206"/>
                </a:lnTo>
                <a:lnTo>
                  <a:pt x="41528" y="0"/>
                </a:lnTo>
                <a:close/>
              </a:path>
            </a:pathLst>
          </a:custGeom>
          <a:solidFill>
            <a:srgbClr val="D9D9D9"/>
          </a:solidFill>
        </p:spPr>
        <p:txBody>
          <a:bodyPr wrap="square" lIns="0" tIns="0" rIns="0" bIns="0" rtlCol="0"/>
          <a:lstStyle/>
          <a:p>
            <a:endParaRPr/>
          </a:p>
        </p:txBody>
      </p:sp>
      <p:sp>
        <p:nvSpPr>
          <p:cNvPr id="189" name="object 189"/>
          <p:cNvSpPr/>
          <p:nvPr/>
        </p:nvSpPr>
        <p:spPr>
          <a:xfrm>
            <a:off x="6775069" y="2413255"/>
            <a:ext cx="1344929" cy="1680337"/>
          </a:xfrm>
          <a:prstGeom prst="rect">
            <a:avLst/>
          </a:prstGeom>
          <a:blipFill>
            <a:blip r:embed="rId5" cstate="print"/>
            <a:stretch>
              <a:fillRect/>
            </a:stretch>
          </a:blipFill>
        </p:spPr>
        <p:txBody>
          <a:bodyPr wrap="square" lIns="0" tIns="0" rIns="0" bIns="0" rtlCol="0"/>
          <a:lstStyle/>
          <a:p>
            <a:endParaRPr/>
          </a:p>
        </p:txBody>
      </p:sp>
      <p:sp>
        <p:nvSpPr>
          <p:cNvPr id="190" name="object 190"/>
          <p:cNvSpPr/>
          <p:nvPr/>
        </p:nvSpPr>
        <p:spPr>
          <a:xfrm>
            <a:off x="6713981" y="2796033"/>
            <a:ext cx="64769" cy="67945"/>
          </a:xfrm>
          <a:custGeom>
            <a:avLst/>
            <a:gdLst/>
            <a:ahLst/>
            <a:cxnLst/>
            <a:rect l="l" t="t" r="r" b="b"/>
            <a:pathLst>
              <a:path w="64770" h="67944">
                <a:moveTo>
                  <a:pt x="35941" y="0"/>
                </a:moveTo>
                <a:lnTo>
                  <a:pt x="1270" y="28701"/>
                </a:lnTo>
                <a:lnTo>
                  <a:pt x="0" y="40004"/>
                </a:lnTo>
                <a:lnTo>
                  <a:pt x="4445" y="48387"/>
                </a:lnTo>
                <a:lnTo>
                  <a:pt x="8763" y="56641"/>
                </a:lnTo>
                <a:lnTo>
                  <a:pt x="18669" y="62229"/>
                </a:lnTo>
                <a:lnTo>
                  <a:pt x="28575" y="67690"/>
                </a:lnTo>
                <a:lnTo>
                  <a:pt x="38353" y="66039"/>
                </a:lnTo>
                <a:lnTo>
                  <a:pt x="52324" y="58800"/>
                </a:lnTo>
                <a:lnTo>
                  <a:pt x="59309" y="51688"/>
                </a:lnTo>
                <a:lnTo>
                  <a:pt x="63246" y="38988"/>
                </a:lnTo>
                <a:lnTo>
                  <a:pt x="64516" y="27812"/>
                </a:lnTo>
                <a:lnTo>
                  <a:pt x="55879" y="11048"/>
                </a:lnTo>
                <a:lnTo>
                  <a:pt x="35941" y="0"/>
                </a:lnTo>
                <a:close/>
              </a:path>
            </a:pathLst>
          </a:custGeom>
          <a:solidFill>
            <a:srgbClr val="D9D9D9"/>
          </a:solidFill>
        </p:spPr>
        <p:txBody>
          <a:bodyPr wrap="square" lIns="0" tIns="0" rIns="0" bIns="0" rtlCol="0"/>
          <a:lstStyle/>
          <a:p>
            <a:endParaRPr/>
          </a:p>
        </p:txBody>
      </p:sp>
      <p:sp>
        <p:nvSpPr>
          <p:cNvPr id="191" name="object 191"/>
          <p:cNvSpPr/>
          <p:nvPr/>
        </p:nvSpPr>
        <p:spPr>
          <a:xfrm>
            <a:off x="6713981" y="2796033"/>
            <a:ext cx="64769" cy="67945"/>
          </a:xfrm>
          <a:custGeom>
            <a:avLst/>
            <a:gdLst/>
            <a:ahLst/>
            <a:cxnLst/>
            <a:rect l="l" t="t" r="r" b="b"/>
            <a:pathLst>
              <a:path w="64770" h="67944">
                <a:moveTo>
                  <a:pt x="35941" y="0"/>
                </a:moveTo>
                <a:lnTo>
                  <a:pt x="1270" y="28701"/>
                </a:lnTo>
                <a:lnTo>
                  <a:pt x="0" y="40004"/>
                </a:lnTo>
                <a:lnTo>
                  <a:pt x="4445" y="48387"/>
                </a:lnTo>
                <a:lnTo>
                  <a:pt x="8763" y="56641"/>
                </a:lnTo>
                <a:lnTo>
                  <a:pt x="18669" y="62229"/>
                </a:lnTo>
                <a:lnTo>
                  <a:pt x="28575" y="67690"/>
                </a:lnTo>
                <a:lnTo>
                  <a:pt x="38353" y="66039"/>
                </a:lnTo>
                <a:lnTo>
                  <a:pt x="52324" y="58800"/>
                </a:lnTo>
                <a:lnTo>
                  <a:pt x="59309" y="51688"/>
                </a:lnTo>
                <a:lnTo>
                  <a:pt x="63246" y="38988"/>
                </a:lnTo>
                <a:lnTo>
                  <a:pt x="64516" y="27812"/>
                </a:lnTo>
                <a:lnTo>
                  <a:pt x="55879" y="11048"/>
                </a:lnTo>
                <a:lnTo>
                  <a:pt x="35941" y="0"/>
                </a:lnTo>
                <a:close/>
              </a:path>
            </a:pathLst>
          </a:custGeom>
          <a:solidFill>
            <a:srgbClr val="D9D9D9"/>
          </a:solidFill>
        </p:spPr>
        <p:txBody>
          <a:bodyPr wrap="square" lIns="0" tIns="0" rIns="0" bIns="0" rtlCol="0"/>
          <a:lstStyle/>
          <a:p>
            <a:endParaRPr/>
          </a:p>
        </p:txBody>
      </p:sp>
      <p:sp>
        <p:nvSpPr>
          <p:cNvPr id="192" name="object 192"/>
          <p:cNvSpPr/>
          <p:nvPr/>
        </p:nvSpPr>
        <p:spPr>
          <a:xfrm>
            <a:off x="6630544" y="2964688"/>
            <a:ext cx="60960" cy="60960"/>
          </a:xfrm>
          <a:custGeom>
            <a:avLst/>
            <a:gdLst/>
            <a:ahLst/>
            <a:cxnLst/>
            <a:rect l="l" t="t" r="r" b="b"/>
            <a:pathLst>
              <a:path w="60959" h="60960">
                <a:moveTo>
                  <a:pt x="33400" y="0"/>
                </a:moveTo>
                <a:lnTo>
                  <a:pt x="23622" y="1524"/>
                </a:lnTo>
                <a:lnTo>
                  <a:pt x="12446" y="7365"/>
                </a:lnTo>
                <a:lnTo>
                  <a:pt x="5460" y="14477"/>
                </a:lnTo>
                <a:lnTo>
                  <a:pt x="0" y="24384"/>
                </a:lnTo>
                <a:lnTo>
                  <a:pt x="253" y="38353"/>
                </a:lnTo>
                <a:lnTo>
                  <a:pt x="3048" y="43941"/>
                </a:lnTo>
                <a:lnTo>
                  <a:pt x="17399" y="57785"/>
                </a:lnTo>
                <a:lnTo>
                  <a:pt x="25780" y="60578"/>
                </a:lnTo>
                <a:lnTo>
                  <a:pt x="35686" y="58927"/>
                </a:lnTo>
                <a:lnTo>
                  <a:pt x="46862" y="53212"/>
                </a:lnTo>
                <a:lnTo>
                  <a:pt x="53721" y="46100"/>
                </a:lnTo>
                <a:lnTo>
                  <a:pt x="59181" y="36195"/>
                </a:lnTo>
                <a:lnTo>
                  <a:pt x="60451" y="24891"/>
                </a:lnTo>
                <a:lnTo>
                  <a:pt x="56133" y="16510"/>
                </a:lnTo>
                <a:lnTo>
                  <a:pt x="49022" y="9525"/>
                </a:lnTo>
                <a:lnTo>
                  <a:pt x="41909" y="2666"/>
                </a:lnTo>
                <a:lnTo>
                  <a:pt x="33400" y="0"/>
                </a:lnTo>
                <a:close/>
              </a:path>
            </a:pathLst>
          </a:custGeom>
          <a:solidFill>
            <a:srgbClr val="D9D9D9"/>
          </a:solidFill>
        </p:spPr>
        <p:txBody>
          <a:bodyPr wrap="square" lIns="0" tIns="0" rIns="0" bIns="0" rtlCol="0"/>
          <a:lstStyle/>
          <a:p>
            <a:endParaRPr/>
          </a:p>
        </p:txBody>
      </p:sp>
      <p:sp>
        <p:nvSpPr>
          <p:cNvPr id="193" name="object 193"/>
          <p:cNvSpPr/>
          <p:nvPr/>
        </p:nvSpPr>
        <p:spPr>
          <a:xfrm>
            <a:off x="6630544" y="2964688"/>
            <a:ext cx="60960" cy="60960"/>
          </a:xfrm>
          <a:custGeom>
            <a:avLst/>
            <a:gdLst/>
            <a:ahLst/>
            <a:cxnLst/>
            <a:rect l="l" t="t" r="r" b="b"/>
            <a:pathLst>
              <a:path w="60959" h="60960">
                <a:moveTo>
                  <a:pt x="33400" y="0"/>
                </a:moveTo>
                <a:lnTo>
                  <a:pt x="23622" y="1524"/>
                </a:lnTo>
                <a:lnTo>
                  <a:pt x="12446" y="7365"/>
                </a:lnTo>
                <a:lnTo>
                  <a:pt x="5460" y="14477"/>
                </a:lnTo>
                <a:lnTo>
                  <a:pt x="0" y="24384"/>
                </a:lnTo>
                <a:lnTo>
                  <a:pt x="253" y="38353"/>
                </a:lnTo>
                <a:lnTo>
                  <a:pt x="3048" y="43941"/>
                </a:lnTo>
                <a:lnTo>
                  <a:pt x="17399" y="57785"/>
                </a:lnTo>
                <a:lnTo>
                  <a:pt x="25780" y="60578"/>
                </a:lnTo>
                <a:lnTo>
                  <a:pt x="35686" y="58927"/>
                </a:lnTo>
                <a:lnTo>
                  <a:pt x="46862" y="53212"/>
                </a:lnTo>
                <a:lnTo>
                  <a:pt x="53721" y="46100"/>
                </a:lnTo>
                <a:lnTo>
                  <a:pt x="59181" y="36195"/>
                </a:lnTo>
                <a:lnTo>
                  <a:pt x="60451" y="24891"/>
                </a:lnTo>
                <a:lnTo>
                  <a:pt x="56133" y="16510"/>
                </a:lnTo>
                <a:lnTo>
                  <a:pt x="49022" y="9525"/>
                </a:lnTo>
                <a:lnTo>
                  <a:pt x="41909" y="2666"/>
                </a:lnTo>
                <a:lnTo>
                  <a:pt x="33400" y="0"/>
                </a:lnTo>
                <a:close/>
              </a:path>
            </a:pathLst>
          </a:custGeom>
          <a:solidFill>
            <a:srgbClr val="D9D9D9"/>
          </a:solidFill>
        </p:spPr>
        <p:txBody>
          <a:bodyPr wrap="square" lIns="0" tIns="0" rIns="0" bIns="0" rtlCol="0"/>
          <a:lstStyle/>
          <a:p>
            <a:endParaRPr/>
          </a:p>
        </p:txBody>
      </p:sp>
      <p:sp>
        <p:nvSpPr>
          <p:cNvPr id="194" name="object 194"/>
          <p:cNvSpPr/>
          <p:nvPr/>
        </p:nvSpPr>
        <p:spPr>
          <a:xfrm>
            <a:off x="6577203" y="3146806"/>
            <a:ext cx="53340" cy="52069"/>
          </a:xfrm>
          <a:custGeom>
            <a:avLst/>
            <a:gdLst/>
            <a:ahLst/>
            <a:cxnLst/>
            <a:rect l="l" t="t" r="r" b="b"/>
            <a:pathLst>
              <a:path w="53340" h="52069">
                <a:moveTo>
                  <a:pt x="28955" y="0"/>
                </a:moveTo>
                <a:lnTo>
                  <a:pt x="0" y="32766"/>
                </a:lnTo>
                <a:lnTo>
                  <a:pt x="2794" y="38354"/>
                </a:lnTo>
                <a:lnTo>
                  <a:pt x="9905" y="45339"/>
                </a:lnTo>
                <a:lnTo>
                  <a:pt x="15621" y="49403"/>
                </a:lnTo>
                <a:lnTo>
                  <a:pt x="24129" y="52070"/>
                </a:lnTo>
                <a:lnTo>
                  <a:pt x="31115" y="52070"/>
                </a:lnTo>
                <a:lnTo>
                  <a:pt x="42291" y="46228"/>
                </a:lnTo>
                <a:lnTo>
                  <a:pt x="49275" y="39116"/>
                </a:lnTo>
                <a:lnTo>
                  <a:pt x="51943" y="30607"/>
                </a:lnTo>
                <a:lnTo>
                  <a:pt x="53213" y="19304"/>
                </a:lnTo>
                <a:lnTo>
                  <a:pt x="50292" y="13843"/>
                </a:lnTo>
                <a:lnTo>
                  <a:pt x="43179" y="6858"/>
                </a:lnTo>
                <a:lnTo>
                  <a:pt x="37465" y="2667"/>
                </a:lnTo>
                <a:lnTo>
                  <a:pt x="28955" y="0"/>
                </a:lnTo>
                <a:close/>
              </a:path>
            </a:pathLst>
          </a:custGeom>
          <a:solidFill>
            <a:srgbClr val="D9D9D9"/>
          </a:solidFill>
        </p:spPr>
        <p:txBody>
          <a:bodyPr wrap="square" lIns="0" tIns="0" rIns="0" bIns="0" rtlCol="0"/>
          <a:lstStyle/>
          <a:p>
            <a:endParaRPr/>
          </a:p>
        </p:txBody>
      </p:sp>
      <p:sp>
        <p:nvSpPr>
          <p:cNvPr id="195" name="object 195"/>
          <p:cNvSpPr/>
          <p:nvPr/>
        </p:nvSpPr>
        <p:spPr>
          <a:xfrm>
            <a:off x="6577203" y="3146806"/>
            <a:ext cx="53340" cy="52069"/>
          </a:xfrm>
          <a:custGeom>
            <a:avLst/>
            <a:gdLst/>
            <a:ahLst/>
            <a:cxnLst/>
            <a:rect l="l" t="t" r="r" b="b"/>
            <a:pathLst>
              <a:path w="53340" h="52069">
                <a:moveTo>
                  <a:pt x="28955" y="0"/>
                </a:moveTo>
                <a:lnTo>
                  <a:pt x="0" y="32766"/>
                </a:lnTo>
                <a:lnTo>
                  <a:pt x="2794" y="38354"/>
                </a:lnTo>
                <a:lnTo>
                  <a:pt x="9905" y="45339"/>
                </a:lnTo>
                <a:lnTo>
                  <a:pt x="15621" y="49403"/>
                </a:lnTo>
                <a:lnTo>
                  <a:pt x="24129" y="52070"/>
                </a:lnTo>
                <a:lnTo>
                  <a:pt x="31115" y="52070"/>
                </a:lnTo>
                <a:lnTo>
                  <a:pt x="42291" y="46228"/>
                </a:lnTo>
                <a:lnTo>
                  <a:pt x="49275" y="39116"/>
                </a:lnTo>
                <a:lnTo>
                  <a:pt x="51943" y="30607"/>
                </a:lnTo>
                <a:lnTo>
                  <a:pt x="53213" y="19304"/>
                </a:lnTo>
                <a:lnTo>
                  <a:pt x="50292" y="13843"/>
                </a:lnTo>
                <a:lnTo>
                  <a:pt x="43179" y="6858"/>
                </a:lnTo>
                <a:lnTo>
                  <a:pt x="37465" y="2667"/>
                </a:lnTo>
                <a:lnTo>
                  <a:pt x="28955" y="0"/>
                </a:lnTo>
                <a:close/>
              </a:path>
            </a:pathLst>
          </a:custGeom>
          <a:solidFill>
            <a:srgbClr val="D9D9D9"/>
          </a:solidFill>
        </p:spPr>
        <p:txBody>
          <a:bodyPr wrap="square" lIns="0" tIns="0" rIns="0" bIns="0" rtlCol="0"/>
          <a:lstStyle/>
          <a:p>
            <a:endParaRPr/>
          </a:p>
        </p:txBody>
      </p:sp>
      <p:sp>
        <p:nvSpPr>
          <p:cNvPr id="196" name="object 196"/>
          <p:cNvSpPr/>
          <p:nvPr/>
        </p:nvSpPr>
        <p:spPr>
          <a:xfrm>
            <a:off x="6554469" y="3332734"/>
            <a:ext cx="49530" cy="49530"/>
          </a:xfrm>
          <a:custGeom>
            <a:avLst/>
            <a:gdLst/>
            <a:ahLst/>
            <a:cxnLst/>
            <a:rect l="l" t="t" r="r" b="b"/>
            <a:pathLst>
              <a:path w="49529" h="49529">
                <a:moveTo>
                  <a:pt x="27812" y="0"/>
                </a:moveTo>
                <a:lnTo>
                  <a:pt x="17906" y="1524"/>
                </a:lnTo>
                <a:lnTo>
                  <a:pt x="9525" y="5968"/>
                </a:lnTo>
                <a:lnTo>
                  <a:pt x="5460" y="11556"/>
                </a:lnTo>
                <a:lnTo>
                  <a:pt x="0" y="21589"/>
                </a:lnTo>
                <a:lnTo>
                  <a:pt x="1524" y="31368"/>
                </a:lnTo>
                <a:lnTo>
                  <a:pt x="4445" y="36956"/>
                </a:lnTo>
                <a:lnTo>
                  <a:pt x="7238" y="42544"/>
                </a:lnTo>
                <a:lnTo>
                  <a:pt x="12953" y="46608"/>
                </a:lnTo>
                <a:lnTo>
                  <a:pt x="21462" y="49275"/>
                </a:lnTo>
                <a:lnTo>
                  <a:pt x="28448" y="49275"/>
                </a:lnTo>
                <a:lnTo>
                  <a:pt x="39624" y="43433"/>
                </a:lnTo>
                <a:lnTo>
                  <a:pt x="43814" y="37718"/>
                </a:lnTo>
                <a:lnTo>
                  <a:pt x="46481" y="29210"/>
                </a:lnTo>
                <a:lnTo>
                  <a:pt x="49149" y="20827"/>
                </a:lnTo>
                <a:lnTo>
                  <a:pt x="46227" y="15239"/>
                </a:lnTo>
                <a:lnTo>
                  <a:pt x="41909" y="6857"/>
                </a:lnTo>
                <a:lnTo>
                  <a:pt x="33400" y="4190"/>
                </a:lnTo>
                <a:lnTo>
                  <a:pt x="27812" y="0"/>
                </a:lnTo>
                <a:close/>
              </a:path>
            </a:pathLst>
          </a:custGeom>
          <a:solidFill>
            <a:srgbClr val="D9D9D9"/>
          </a:solidFill>
        </p:spPr>
        <p:txBody>
          <a:bodyPr wrap="square" lIns="0" tIns="0" rIns="0" bIns="0" rtlCol="0"/>
          <a:lstStyle/>
          <a:p>
            <a:endParaRPr/>
          </a:p>
        </p:txBody>
      </p:sp>
      <p:sp>
        <p:nvSpPr>
          <p:cNvPr id="197" name="object 197"/>
          <p:cNvSpPr/>
          <p:nvPr/>
        </p:nvSpPr>
        <p:spPr>
          <a:xfrm>
            <a:off x="6554469" y="3332734"/>
            <a:ext cx="49530" cy="49530"/>
          </a:xfrm>
          <a:custGeom>
            <a:avLst/>
            <a:gdLst/>
            <a:ahLst/>
            <a:cxnLst/>
            <a:rect l="l" t="t" r="r" b="b"/>
            <a:pathLst>
              <a:path w="49529" h="49529">
                <a:moveTo>
                  <a:pt x="27812" y="0"/>
                </a:moveTo>
                <a:lnTo>
                  <a:pt x="17906" y="1524"/>
                </a:lnTo>
                <a:lnTo>
                  <a:pt x="9525" y="5968"/>
                </a:lnTo>
                <a:lnTo>
                  <a:pt x="5460" y="11556"/>
                </a:lnTo>
                <a:lnTo>
                  <a:pt x="0" y="21589"/>
                </a:lnTo>
                <a:lnTo>
                  <a:pt x="1524" y="31368"/>
                </a:lnTo>
                <a:lnTo>
                  <a:pt x="4445" y="36956"/>
                </a:lnTo>
                <a:lnTo>
                  <a:pt x="7238" y="42544"/>
                </a:lnTo>
                <a:lnTo>
                  <a:pt x="12953" y="46608"/>
                </a:lnTo>
                <a:lnTo>
                  <a:pt x="21462" y="49275"/>
                </a:lnTo>
                <a:lnTo>
                  <a:pt x="28448" y="49275"/>
                </a:lnTo>
                <a:lnTo>
                  <a:pt x="39624" y="43433"/>
                </a:lnTo>
                <a:lnTo>
                  <a:pt x="43814" y="37718"/>
                </a:lnTo>
                <a:lnTo>
                  <a:pt x="46481" y="29210"/>
                </a:lnTo>
                <a:lnTo>
                  <a:pt x="49149" y="20827"/>
                </a:lnTo>
                <a:lnTo>
                  <a:pt x="46227" y="15239"/>
                </a:lnTo>
                <a:lnTo>
                  <a:pt x="41909" y="6857"/>
                </a:lnTo>
                <a:lnTo>
                  <a:pt x="33400" y="4190"/>
                </a:lnTo>
                <a:lnTo>
                  <a:pt x="27812" y="0"/>
                </a:lnTo>
                <a:close/>
              </a:path>
            </a:pathLst>
          </a:custGeom>
          <a:solidFill>
            <a:srgbClr val="D9D9D9"/>
          </a:solidFill>
        </p:spPr>
        <p:txBody>
          <a:bodyPr wrap="square" lIns="0" tIns="0" rIns="0" bIns="0" rtlCol="0"/>
          <a:lstStyle/>
          <a:p>
            <a:endParaRPr/>
          </a:p>
        </p:txBody>
      </p:sp>
      <p:sp>
        <p:nvSpPr>
          <p:cNvPr id="198" name="object 198"/>
          <p:cNvSpPr/>
          <p:nvPr/>
        </p:nvSpPr>
        <p:spPr>
          <a:xfrm>
            <a:off x="6565647" y="3523742"/>
            <a:ext cx="43814" cy="41275"/>
          </a:xfrm>
          <a:custGeom>
            <a:avLst/>
            <a:gdLst/>
            <a:ahLst/>
            <a:cxnLst/>
            <a:rect l="l" t="t" r="r" b="b"/>
            <a:pathLst>
              <a:path w="43815" h="41275">
                <a:moveTo>
                  <a:pt x="30606" y="0"/>
                </a:moveTo>
                <a:lnTo>
                  <a:pt x="16636" y="254"/>
                </a:lnTo>
                <a:lnTo>
                  <a:pt x="8254" y="4572"/>
                </a:lnTo>
                <a:lnTo>
                  <a:pt x="4063" y="10287"/>
                </a:lnTo>
                <a:lnTo>
                  <a:pt x="0" y="15875"/>
                </a:lnTo>
                <a:lnTo>
                  <a:pt x="1524" y="25781"/>
                </a:lnTo>
                <a:lnTo>
                  <a:pt x="4445" y="31369"/>
                </a:lnTo>
                <a:lnTo>
                  <a:pt x="7365" y="36830"/>
                </a:lnTo>
                <a:lnTo>
                  <a:pt x="12953" y="41021"/>
                </a:lnTo>
                <a:lnTo>
                  <a:pt x="27050" y="40767"/>
                </a:lnTo>
                <a:lnTo>
                  <a:pt x="32638" y="37973"/>
                </a:lnTo>
                <a:lnTo>
                  <a:pt x="39497" y="30734"/>
                </a:lnTo>
                <a:lnTo>
                  <a:pt x="43687" y="25146"/>
                </a:lnTo>
                <a:lnTo>
                  <a:pt x="42163" y="15240"/>
                </a:lnTo>
                <a:lnTo>
                  <a:pt x="40639" y="12446"/>
                </a:lnTo>
                <a:lnTo>
                  <a:pt x="36322" y="4063"/>
                </a:lnTo>
                <a:lnTo>
                  <a:pt x="30606" y="0"/>
                </a:lnTo>
                <a:close/>
              </a:path>
            </a:pathLst>
          </a:custGeom>
          <a:solidFill>
            <a:srgbClr val="D9D9D9"/>
          </a:solidFill>
        </p:spPr>
        <p:txBody>
          <a:bodyPr wrap="square" lIns="0" tIns="0" rIns="0" bIns="0" rtlCol="0"/>
          <a:lstStyle/>
          <a:p>
            <a:endParaRPr/>
          </a:p>
        </p:txBody>
      </p:sp>
      <p:sp>
        <p:nvSpPr>
          <p:cNvPr id="199" name="object 199"/>
          <p:cNvSpPr/>
          <p:nvPr/>
        </p:nvSpPr>
        <p:spPr>
          <a:xfrm>
            <a:off x="6565647" y="3523742"/>
            <a:ext cx="43814" cy="41275"/>
          </a:xfrm>
          <a:custGeom>
            <a:avLst/>
            <a:gdLst/>
            <a:ahLst/>
            <a:cxnLst/>
            <a:rect l="l" t="t" r="r" b="b"/>
            <a:pathLst>
              <a:path w="43815" h="41275">
                <a:moveTo>
                  <a:pt x="30606" y="0"/>
                </a:moveTo>
                <a:lnTo>
                  <a:pt x="16636" y="254"/>
                </a:lnTo>
                <a:lnTo>
                  <a:pt x="8254" y="4572"/>
                </a:lnTo>
                <a:lnTo>
                  <a:pt x="4063" y="10287"/>
                </a:lnTo>
                <a:lnTo>
                  <a:pt x="0" y="15875"/>
                </a:lnTo>
                <a:lnTo>
                  <a:pt x="1524" y="25781"/>
                </a:lnTo>
                <a:lnTo>
                  <a:pt x="4445" y="31369"/>
                </a:lnTo>
                <a:lnTo>
                  <a:pt x="7365" y="36830"/>
                </a:lnTo>
                <a:lnTo>
                  <a:pt x="12953" y="41021"/>
                </a:lnTo>
                <a:lnTo>
                  <a:pt x="27050" y="40767"/>
                </a:lnTo>
                <a:lnTo>
                  <a:pt x="32638" y="37973"/>
                </a:lnTo>
                <a:lnTo>
                  <a:pt x="39497" y="30734"/>
                </a:lnTo>
                <a:lnTo>
                  <a:pt x="43687" y="25146"/>
                </a:lnTo>
                <a:lnTo>
                  <a:pt x="42163" y="15240"/>
                </a:lnTo>
                <a:lnTo>
                  <a:pt x="40639" y="12446"/>
                </a:lnTo>
                <a:lnTo>
                  <a:pt x="36322" y="4063"/>
                </a:lnTo>
                <a:lnTo>
                  <a:pt x="30606" y="0"/>
                </a:lnTo>
                <a:close/>
              </a:path>
            </a:pathLst>
          </a:custGeom>
          <a:solidFill>
            <a:srgbClr val="D9D9D9"/>
          </a:solidFill>
        </p:spPr>
        <p:txBody>
          <a:bodyPr wrap="square" lIns="0" tIns="0" rIns="0" bIns="0" rtlCol="0"/>
          <a:lstStyle/>
          <a:p>
            <a:endParaRPr/>
          </a:p>
        </p:txBody>
      </p:sp>
      <p:sp>
        <p:nvSpPr>
          <p:cNvPr id="200" name="object 200"/>
          <p:cNvSpPr/>
          <p:nvPr/>
        </p:nvSpPr>
        <p:spPr>
          <a:xfrm>
            <a:off x="6607682" y="3707510"/>
            <a:ext cx="40005" cy="39370"/>
          </a:xfrm>
          <a:custGeom>
            <a:avLst/>
            <a:gdLst/>
            <a:ahLst/>
            <a:cxnLst/>
            <a:rect l="l" t="t" r="r" b="b"/>
            <a:pathLst>
              <a:path w="40004" h="39370">
                <a:moveTo>
                  <a:pt x="25571" y="37845"/>
                </a:moveTo>
                <a:lnTo>
                  <a:pt x="18669" y="37845"/>
                </a:lnTo>
                <a:lnTo>
                  <a:pt x="22860" y="39243"/>
                </a:lnTo>
                <a:lnTo>
                  <a:pt x="25571" y="37845"/>
                </a:lnTo>
                <a:close/>
              </a:path>
              <a:path w="40004" h="39370">
                <a:moveTo>
                  <a:pt x="16637" y="0"/>
                </a:moveTo>
                <a:lnTo>
                  <a:pt x="8255" y="4318"/>
                </a:lnTo>
                <a:lnTo>
                  <a:pt x="4191" y="10032"/>
                </a:lnTo>
                <a:lnTo>
                  <a:pt x="0" y="15620"/>
                </a:lnTo>
                <a:lnTo>
                  <a:pt x="126" y="22732"/>
                </a:lnTo>
                <a:lnTo>
                  <a:pt x="5969" y="33908"/>
                </a:lnTo>
                <a:lnTo>
                  <a:pt x="11557" y="37972"/>
                </a:lnTo>
                <a:lnTo>
                  <a:pt x="18669" y="37845"/>
                </a:lnTo>
                <a:lnTo>
                  <a:pt x="25571" y="37845"/>
                </a:lnTo>
                <a:lnTo>
                  <a:pt x="31242" y="34925"/>
                </a:lnTo>
                <a:lnTo>
                  <a:pt x="35306" y="29209"/>
                </a:lnTo>
                <a:lnTo>
                  <a:pt x="39497" y="23494"/>
                </a:lnTo>
                <a:lnTo>
                  <a:pt x="37973" y="13715"/>
                </a:lnTo>
                <a:lnTo>
                  <a:pt x="36449" y="10921"/>
                </a:lnTo>
                <a:lnTo>
                  <a:pt x="33655" y="5333"/>
                </a:lnTo>
                <a:lnTo>
                  <a:pt x="28113" y="1269"/>
                </a:lnTo>
                <a:lnTo>
                  <a:pt x="20827" y="1269"/>
                </a:lnTo>
                <a:lnTo>
                  <a:pt x="16637" y="0"/>
                </a:lnTo>
                <a:close/>
              </a:path>
              <a:path w="40004" h="39370">
                <a:moveTo>
                  <a:pt x="27940" y="1143"/>
                </a:moveTo>
                <a:lnTo>
                  <a:pt x="20827" y="1269"/>
                </a:lnTo>
                <a:lnTo>
                  <a:pt x="28113" y="1269"/>
                </a:lnTo>
                <a:lnTo>
                  <a:pt x="27940" y="1143"/>
                </a:lnTo>
                <a:close/>
              </a:path>
            </a:pathLst>
          </a:custGeom>
          <a:solidFill>
            <a:srgbClr val="D9D9D9"/>
          </a:solidFill>
        </p:spPr>
        <p:txBody>
          <a:bodyPr wrap="square" lIns="0" tIns="0" rIns="0" bIns="0" rtlCol="0"/>
          <a:lstStyle/>
          <a:p>
            <a:endParaRPr/>
          </a:p>
        </p:txBody>
      </p:sp>
      <p:sp>
        <p:nvSpPr>
          <p:cNvPr id="201" name="object 201"/>
          <p:cNvSpPr/>
          <p:nvPr/>
        </p:nvSpPr>
        <p:spPr>
          <a:xfrm>
            <a:off x="6607682" y="3707510"/>
            <a:ext cx="40005" cy="39370"/>
          </a:xfrm>
          <a:custGeom>
            <a:avLst/>
            <a:gdLst/>
            <a:ahLst/>
            <a:cxnLst/>
            <a:rect l="l" t="t" r="r" b="b"/>
            <a:pathLst>
              <a:path w="40004" h="39370">
                <a:moveTo>
                  <a:pt x="25571" y="37845"/>
                </a:moveTo>
                <a:lnTo>
                  <a:pt x="18669" y="37845"/>
                </a:lnTo>
                <a:lnTo>
                  <a:pt x="22860" y="39243"/>
                </a:lnTo>
                <a:lnTo>
                  <a:pt x="25571" y="37845"/>
                </a:lnTo>
                <a:close/>
              </a:path>
              <a:path w="40004" h="39370">
                <a:moveTo>
                  <a:pt x="16637" y="0"/>
                </a:moveTo>
                <a:lnTo>
                  <a:pt x="8255" y="4318"/>
                </a:lnTo>
                <a:lnTo>
                  <a:pt x="4191" y="10032"/>
                </a:lnTo>
                <a:lnTo>
                  <a:pt x="0" y="15620"/>
                </a:lnTo>
                <a:lnTo>
                  <a:pt x="126" y="22732"/>
                </a:lnTo>
                <a:lnTo>
                  <a:pt x="5969" y="33908"/>
                </a:lnTo>
                <a:lnTo>
                  <a:pt x="11557" y="37972"/>
                </a:lnTo>
                <a:lnTo>
                  <a:pt x="18669" y="37845"/>
                </a:lnTo>
                <a:lnTo>
                  <a:pt x="25571" y="37845"/>
                </a:lnTo>
                <a:lnTo>
                  <a:pt x="31242" y="34925"/>
                </a:lnTo>
                <a:lnTo>
                  <a:pt x="35306" y="29209"/>
                </a:lnTo>
                <a:lnTo>
                  <a:pt x="39497" y="23494"/>
                </a:lnTo>
                <a:lnTo>
                  <a:pt x="37973" y="13715"/>
                </a:lnTo>
                <a:lnTo>
                  <a:pt x="36449" y="10921"/>
                </a:lnTo>
                <a:lnTo>
                  <a:pt x="33655" y="5333"/>
                </a:lnTo>
                <a:lnTo>
                  <a:pt x="28113" y="1269"/>
                </a:lnTo>
                <a:lnTo>
                  <a:pt x="20827" y="1269"/>
                </a:lnTo>
                <a:lnTo>
                  <a:pt x="16637" y="0"/>
                </a:lnTo>
                <a:close/>
              </a:path>
              <a:path w="40004" h="39370">
                <a:moveTo>
                  <a:pt x="27940" y="1143"/>
                </a:moveTo>
                <a:lnTo>
                  <a:pt x="20827" y="1269"/>
                </a:lnTo>
                <a:lnTo>
                  <a:pt x="28113" y="1269"/>
                </a:lnTo>
                <a:lnTo>
                  <a:pt x="27940" y="1143"/>
                </a:lnTo>
                <a:close/>
              </a:path>
            </a:pathLst>
          </a:custGeom>
          <a:solidFill>
            <a:srgbClr val="D9D9D9"/>
          </a:solidFill>
        </p:spPr>
        <p:txBody>
          <a:bodyPr wrap="square" lIns="0" tIns="0" rIns="0" bIns="0" rtlCol="0"/>
          <a:lstStyle/>
          <a:p>
            <a:endParaRPr/>
          </a:p>
        </p:txBody>
      </p:sp>
      <p:sp>
        <p:nvSpPr>
          <p:cNvPr id="202" name="object 202"/>
          <p:cNvSpPr/>
          <p:nvPr/>
        </p:nvSpPr>
        <p:spPr>
          <a:xfrm>
            <a:off x="6665594" y="2684017"/>
            <a:ext cx="85089" cy="87630"/>
          </a:xfrm>
          <a:custGeom>
            <a:avLst/>
            <a:gdLst/>
            <a:ahLst/>
            <a:cxnLst/>
            <a:rect l="l" t="t" r="r" b="b"/>
            <a:pathLst>
              <a:path w="85090" h="87630">
                <a:moveTo>
                  <a:pt x="44450" y="0"/>
                </a:moveTo>
                <a:lnTo>
                  <a:pt x="29082" y="4445"/>
                </a:lnTo>
                <a:lnTo>
                  <a:pt x="15112" y="11684"/>
                </a:lnTo>
                <a:lnTo>
                  <a:pt x="6857" y="22987"/>
                </a:lnTo>
                <a:lnTo>
                  <a:pt x="0" y="37211"/>
                </a:lnTo>
                <a:lnTo>
                  <a:pt x="253" y="51308"/>
                </a:lnTo>
                <a:lnTo>
                  <a:pt x="6096" y="62357"/>
                </a:lnTo>
                <a:lnTo>
                  <a:pt x="10413" y="70739"/>
                </a:lnTo>
                <a:lnTo>
                  <a:pt x="26034" y="80391"/>
                </a:lnTo>
                <a:lnTo>
                  <a:pt x="40131" y="87249"/>
                </a:lnTo>
                <a:lnTo>
                  <a:pt x="55499" y="82804"/>
                </a:lnTo>
                <a:lnTo>
                  <a:pt x="72262" y="74041"/>
                </a:lnTo>
                <a:lnTo>
                  <a:pt x="80518" y="62737"/>
                </a:lnTo>
                <a:lnTo>
                  <a:pt x="84581" y="50037"/>
                </a:lnTo>
                <a:lnTo>
                  <a:pt x="84327" y="35941"/>
                </a:lnTo>
                <a:lnTo>
                  <a:pt x="81406" y="23368"/>
                </a:lnTo>
                <a:lnTo>
                  <a:pt x="72771" y="13589"/>
                </a:lnTo>
                <a:lnTo>
                  <a:pt x="61468" y="5334"/>
                </a:lnTo>
                <a:lnTo>
                  <a:pt x="44450" y="0"/>
                </a:lnTo>
                <a:close/>
              </a:path>
            </a:pathLst>
          </a:custGeom>
          <a:solidFill>
            <a:srgbClr val="D9D9D9"/>
          </a:solidFill>
        </p:spPr>
        <p:txBody>
          <a:bodyPr wrap="square" lIns="0" tIns="0" rIns="0" bIns="0" rtlCol="0"/>
          <a:lstStyle/>
          <a:p>
            <a:endParaRPr/>
          </a:p>
        </p:txBody>
      </p:sp>
      <p:sp>
        <p:nvSpPr>
          <p:cNvPr id="203" name="object 203"/>
          <p:cNvSpPr/>
          <p:nvPr/>
        </p:nvSpPr>
        <p:spPr>
          <a:xfrm>
            <a:off x="7340854" y="2502790"/>
            <a:ext cx="69215" cy="69215"/>
          </a:xfrm>
          <a:custGeom>
            <a:avLst/>
            <a:gdLst/>
            <a:ahLst/>
            <a:cxnLst/>
            <a:rect l="l" t="t" r="r" b="b"/>
            <a:pathLst>
              <a:path w="69215" h="69214">
                <a:moveTo>
                  <a:pt x="35941" y="0"/>
                </a:moveTo>
                <a:lnTo>
                  <a:pt x="23368" y="3048"/>
                </a:lnTo>
                <a:lnTo>
                  <a:pt x="12192" y="8889"/>
                </a:lnTo>
                <a:lnTo>
                  <a:pt x="1270" y="28701"/>
                </a:lnTo>
                <a:lnTo>
                  <a:pt x="0" y="39877"/>
                </a:lnTo>
                <a:lnTo>
                  <a:pt x="5842" y="51053"/>
                </a:lnTo>
                <a:lnTo>
                  <a:pt x="10160" y="59436"/>
                </a:lnTo>
                <a:lnTo>
                  <a:pt x="21463" y="67690"/>
                </a:lnTo>
                <a:lnTo>
                  <a:pt x="32766" y="68961"/>
                </a:lnTo>
                <a:lnTo>
                  <a:pt x="46863" y="68707"/>
                </a:lnTo>
                <a:lnTo>
                  <a:pt x="66294" y="51562"/>
                </a:lnTo>
                <a:lnTo>
                  <a:pt x="67494" y="39877"/>
                </a:lnTo>
                <a:lnTo>
                  <a:pt x="68706" y="29083"/>
                </a:lnTo>
                <a:lnTo>
                  <a:pt x="67182" y="19303"/>
                </a:lnTo>
                <a:lnTo>
                  <a:pt x="60071" y="12319"/>
                </a:lnTo>
                <a:lnTo>
                  <a:pt x="48641" y="4063"/>
                </a:lnTo>
                <a:lnTo>
                  <a:pt x="35941" y="0"/>
                </a:lnTo>
                <a:close/>
              </a:path>
            </a:pathLst>
          </a:custGeom>
          <a:solidFill>
            <a:srgbClr val="D9D9D9"/>
          </a:solidFill>
        </p:spPr>
        <p:txBody>
          <a:bodyPr wrap="square" lIns="0" tIns="0" rIns="0" bIns="0" rtlCol="0"/>
          <a:lstStyle/>
          <a:p>
            <a:endParaRPr/>
          </a:p>
        </p:txBody>
      </p:sp>
      <p:sp>
        <p:nvSpPr>
          <p:cNvPr id="204" name="object 204"/>
          <p:cNvSpPr/>
          <p:nvPr/>
        </p:nvSpPr>
        <p:spPr>
          <a:xfrm>
            <a:off x="7340854" y="2502790"/>
            <a:ext cx="69215" cy="69215"/>
          </a:xfrm>
          <a:custGeom>
            <a:avLst/>
            <a:gdLst/>
            <a:ahLst/>
            <a:cxnLst/>
            <a:rect l="l" t="t" r="r" b="b"/>
            <a:pathLst>
              <a:path w="69215" h="69214">
                <a:moveTo>
                  <a:pt x="35941" y="0"/>
                </a:moveTo>
                <a:lnTo>
                  <a:pt x="23368" y="3048"/>
                </a:lnTo>
                <a:lnTo>
                  <a:pt x="12192" y="8889"/>
                </a:lnTo>
                <a:lnTo>
                  <a:pt x="1270" y="28701"/>
                </a:lnTo>
                <a:lnTo>
                  <a:pt x="0" y="39877"/>
                </a:lnTo>
                <a:lnTo>
                  <a:pt x="5842" y="51053"/>
                </a:lnTo>
                <a:lnTo>
                  <a:pt x="10160" y="59436"/>
                </a:lnTo>
                <a:lnTo>
                  <a:pt x="21463" y="67690"/>
                </a:lnTo>
                <a:lnTo>
                  <a:pt x="32766" y="68961"/>
                </a:lnTo>
                <a:lnTo>
                  <a:pt x="46863" y="68707"/>
                </a:lnTo>
                <a:lnTo>
                  <a:pt x="66294" y="51562"/>
                </a:lnTo>
                <a:lnTo>
                  <a:pt x="67494" y="39877"/>
                </a:lnTo>
                <a:lnTo>
                  <a:pt x="68706" y="29083"/>
                </a:lnTo>
                <a:lnTo>
                  <a:pt x="67182" y="19303"/>
                </a:lnTo>
                <a:lnTo>
                  <a:pt x="60071" y="12319"/>
                </a:lnTo>
                <a:lnTo>
                  <a:pt x="48641" y="4063"/>
                </a:lnTo>
                <a:lnTo>
                  <a:pt x="35941" y="0"/>
                </a:lnTo>
                <a:close/>
              </a:path>
            </a:pathLst>
          </a:custGeom>
          <a:solidFill>
            <a:srgbClr val="D9D9D9"/>
          </a:solidFill>
        </p:spPr>
        <p:txBody>
          <a:bodyPr wrap="square" lIns="0" tIns="0" rIns="0" bIns="0" rtlCol="0"/>
          <a:lstStyle/>
          <a:p>
            <a:endParaRPr/>
          </a:p>
        </p:txBody>
      </p:sp>
      <p:sp>
        <p:nvSpPr>
          <p:cNvPr id="205" name="object 205"/>
          <p:cNvSpPr/>
          <p:nvPr/>
        </p:nvSpPr>
        <p:spPr>
          <a:xfrm>
            <a:off x="7500618" y="2472435"/>
            <a:ext cx="62230" cy="62230"/>
          </a:xfrm>
          <a:custGeom>
            <a:avLst/>
            <a:gdLst/>
            <a:ahLst/>
            <a:cxnLst/>
            <a:rect l="l" t="t" r="r" b="b"/>
            <a:pathLst>
              <a:path w="62229" h="62230">
                <a:moveTo>
                  <a:pt x="30352" y="0"/>
                </a:moveTo>
                <a:lnTo>
                  <a:pt x="1270" y="25780"/>
                </a:lnTo>
                <a:lnTo>
                  <a:pt x="0" y="36956"/>
                </a:lnTo>
                <a:lnTo>
                  <a:pt x="8635" y="53721"/>
                </a:lnTo>
                <a:lnTo>
                  <a:pt x="18541" y="59181"/>
                </a:lnTo>
                <a:lnTo>
                  <a:pt x="41148" y="61722"/>
                </a:lnTo>
                <a:lnTo>
                  <a:pt x="50800" y="53086"/>
                </a:lnTo>
                <a:lnTo>
                  <a:pt x="57784" y="45974"/>
                </a:lnTo>
                <a:lnTo>
                  <a:pt x="60451" y="37464"/>
                </a:lnTo>
                <a:lnTo>
                  <a:pt x="61722" y="26288"/>
                </a:lnTo>
                <a:lnTo>
                  <a:pt x="57276" y="17906"/>
                </a:lnTo>
                <a:lnTo>
                  <a:pt x="52958" y="9525"/>
                </a:lnTo>
                <a:lnTo>
                  <a:pt x="43052" y="4063"/>
                </a:lnTo>
                <a:lnTo>
                  <a:pt x="30352" y="0"/>
                </a:lnTo>
                <a:close/>
              </a:path>
            </a:pathLst>
          </a:custGeom>
          <a:solidFill>
            <a:srgbClr val="D9D9D9"/>
          </a:solidFill>
        </p:spPr>
        <p:txBody>
          <a:bodyPr wrap="square" lIns="0" tIns="0" rIns="0" bIns="0" rtlCol="0"/>
          <a:lstStyle/>
          <a:p>
            <a:endParaRPr/>
          </a:p>
        </p:txBody>
      </p:sp>
      <p:sp>
        <p:nvSpPr>
          <p:cNvPr id="206" name="object 206"/>
          <p:cNvSpPr/>
          <p:nvPr/>
        </p:nvSpPr>
        <p:spPr>
          <a:xfrm>
            <a:off x="7500618" y="2472435"/>
            <a:ext cx="62230" cy="62230"/>
          </a:xfrm>
          <a:custGeom>
            <a:avLst/>
            <a:gdLst/>
            <a:ahLst/>
            <a:cxnLst/>
            <a:rect l="l" t="t" r="r" b="b"/>
            <a:pathLst>
              <a:path w="62229" h="62230">
                <a:moveTo>
                  <a:pt x="30352" y="0"/>
                </a:moveTo>
                <a:lnTo>
                  <a:pt x="1270" y="25780"/>
                </a:lnTo>
                <a:lnTo>
                  <a:pt x="0" y="36956"/>
                </a:lnTo>
                <a:lnTo>
                  <a:pt x="8635" y="53721"/>
                </a:lnTo>
                <a:lnTo>
                  <a:pt x="18541" y="59181"/>
                </a:lnTo>
                <a:lnTo>
                  <a:pt x="41148" y="61722"/>
                </a:lnTo>
                <a:lnTo>
                  <a:pt x="50800" y="53086"/>
                </a:lnTo>
                <a:lnTo>
                  <a:pt x="57784" y="45974"/>
                </a:lnTo>
                <a:lnTo>
                  <a:pt x="60451" y="37464"/>
                </a:lnTo>
                <a:lnTo>
                  <a:pt x="61722" y="26288"/>
                </a:lnTo>
                <a:lnTo>
                  <a:pt x="57276" y="17906"/>
                </a:lnTo>
                <a:lnTo>
                  <a:pt x="52958" y="9525"/>
                </a:lnTo>
                <a:lnTo>
                  <a:pt x="43052" y="4063"/>
                </a:lnTo>
                <a:lnTo>
                  <a:pt x="30352" y="0"/>
                </a:lnTo>
                <a:close/>
              </a:path>
            </a:pathLst>
          </a:custGeom>
          <a:solidFill>
            <a:srgbClr val="D9D9D9"/>
          </a:solidFill>
        </p:spPr>
        <p:txBody>
          <a:bodyPr wrap="square" lIns="0" tIns="0" rIns="0" bIns="0" rtlCol="0"/>
          <a:lstStyle/>
          <a:p>
            <a:endParaRPr/>
          </a:p>
        </p:txBody>
      </p:sp>
      <p:sp>
        <p:nvSpPr>
          <p:cNvPr id="207" name="object 207"/>
          <p:cNvSpPr/>
          <p:nvPr/>
        </p:nvSpPr>
        <p:spPr>
          <a:xfrm>
            <a:off x="7662037" y="2470023"/>
            <a:ext cx="56515" cy="55244"/>
          </a:xfrm>
          <a:custGeom>
            <a:avLst/>
            <a:gdLst/>
            <a:ahLst/>
            <a:cxnLst/>
            <a:rect l="l" t="t" r="r" b="b"/>
            <a:pathLst>
              <a:path w="56515" h="55244">
                <a:moveTo>
                  <a:pt x="30607" y="0"/>
                </a:moveTo>
                <a:lnTo>
                  <a:pt x="17907" y="3048"/>
                </a:lnTo>
                <a:lnTo>
                  <a:pt x="9652" y="7365"/>
                </a:lnTo>
                <a:lnTo>
                  <a:pt x="2667" y="14477"/>
                </a:lnTo>
                <a:lnTo>
                  <a:pt x="0" y="22987"/>
                </a:lnTo>
                <a:lnTo>
                  <a:pt x="127" y="29972"/>
                </a:lnTo>
                <a:lnTo>
                  <a:pt x="1651" y="39750"/>
                </a:lnTo>
                <a:lnTo>
                  <a:pt x="8763" y="46736"/>
                </a:lnTo>
                <a:lnTo>
                  <a:pt x="15875" y="53593"/>
                </a:lnTo>
                <a:lnTo>
                  <a:pt x="27178" y="54863"/>
                </a:lnTo>
                <a:lnTo>
                  <a:pt x="36957" y="53339"/>
                </a:lnTo>
                <a:lnTo>
                  <a:pt x="45339" y="49022"/>
                </a:lnTo>
                <a:lnTo>
                  <a:pt x="52324" y="41910"/>
                </a:lnTo>
                <a:lnTo>
                  <a:pt x="54991" y="33400"/>
                </a:lnTo>
                <a:lnTo>
                  <a:pt x="56261" y="22098"/>
                </a:lnTo>
                <a:lnTo>
                  <a:pt x="51816" y="13715"/>
                </a:lnTo>
                <a:lnTo>
                  <a:pt x="49022" y="8127"/>
                </a:lnTo>
                <a:lnTo>
                  <a:pt x="38989" y="2666"/>
                </a:lnTo>
                <a:lnTo>
                  <a:pt x="30607" y="0"/>
                </a:lnTo>
                <a:close/>
              </a:path>
            </a:pathLst>
          </a:custGeom>
          <a:solidFill>
            <a:srgbClr val="D9D9D9"/>
          </a:solidFill>
        </p:spPr>
        <p:txBody>
          <a:bodyPr wrap="square" lIns="0" tIns="0" rIns="0" bIns="0" rtlCol="0"/>
          <a:lstStyle/>
          <a:p>
            <a:endParaRPr/>
          </a:p>
        </p:txBody>
      </p:sp>
      <p:sp>
        <p:nvSpPr>
          <p:cNvPr id="208" name="object 208"/>
          <p:cNvSpPr/>
          <p:nvPr/>
        </p:nvSpPr>
        <p:spPr>
          <a:xfrm>
            <a:off x="7662037" y="2470023"/>
            <a:ext cx="56515" cy="55244"/>
          </a:xfrm>
          <a:custGeom>
            <a:avLst/>
            <a:gdLst/>
            <a:ahLst/>
            <a:cxnLst/>
            <a:rect l="l" t="t" r="r" b="b"/>
            <a:pathLst>
              <a:path w="56515" h="55244">
                <a:moveTo>
                  <a:pt x="30607" y="0"/>
                </a:moveTo>
                <a:lnTo>
                  <a:pt x="17907" y="3048"/>
                </a:lnTo>
                <a:lnTo>
                  <a:pt x="9652" y="7365"/>
                </a:lnTo>
                <a:lnTo>
                  <a:pt x="2667" y="14477"/>
                </a:lnTo>
                <a:lnTo>
                  <a:pt x="0" y="22987"/>
                </a:lnTo>
                <a:lnTo>
                  <a:pt x="127" y="29972"/>
                </a:lnTo>
                <a:lnTo>
                  <a:pt x="1651" y="39750"/>
                </a:lnTo>
                <a:lnTo>
                  <a:pt x="8763" y="46736"/>
                </a:lnTo>
                <a:lnTo>
                  <a:pt x="15875" y="53593"/>
                </a:lnTo>
                <a:lnTo>
                  <a:pt x="27178" y="54863"/>
                </a:lnTo>
                <a:lnTo>
                  <a:pt x="36957" y="53339"/>
                </a:lnTo>
                <a:lnTo>
                  <a:pt x="45339" y="49022"/>
                </a:lnTo>
                <a:lnTo>
                  <a:pt x="52324" y="41910"/>
                </a:lnTo>
                <a:lnTo>
                  <a:pt x="54991" y="33400"/>
                </a:lnTo>
                <a:lnTo>
                  <a:pt x="56261" y="22098"/>
                </a:lnTo>
                <a:lnTo>
                  <a:pt x="51816" y="13715"/>
                </a:lnTo>
                <a:lnTo>
                  <a:pt x="49022" y="8127"/>
                </a:lnTo>
                <a:lnTo>
                  <a:pt x="38989" y="2666"/>
                </a:lnTo>
                <a:lnTo>
                  <a:pt x="30607" y="0"/>
                </a:lnTo>
                <a:close/>
              </a:path>
            </a:pathLst>
          </a:custGeom>
          <a:solidFill>
            <a:srgbClr val="D9D9D9"/>
          </a:solidFill>
        </p:spPr>
        <p:txBody>
          <a:bodyPr wrap="square" lIns="0" tIns="0" rIns="0" bIns="0" rtlCol="0"/>
          <a:lstStyle/>
          <a:p>
            <a:endParaRPr/>
          </a:p>
        </p:txBody>
      </p:sp>
      <p:sp>
        <p:nvSpPr>
          <p:cNvPr id="209" name="object 209"/>
          <p:cNvSpPr/>
          <p:nvPr/>
        </p:nvSpPr>
        <p:spPr>
          <a:xfrm>
            <a:off x="7821169" y="2493011"/>
            <a:ext cx="50800" cy="49530"/>
          </a:xfrm>
          <a:custGeom>
            <a:avLst/>
            <a:gdLst/>
            <a:ahLst/>
            <a:cxnLst/>
            <a:rect l="l" t="t" r="r" b="b"/>
            <a:pathLst>
              <a:path w="50800" h="49530">
                <a:moveTo>
                  <a:pt x="25018" y="0"/>
                </a:moveTo>
                <a:lnTo>
                  <a:pt x="18033" y="126"/>
                </a:lnTo>
                <a:lnTo>
                  <a:pt x="8254" y="8762"/>
                </a:lnTo>
                <a:lnTo>
                  <a:pt x="4190" y="14350"/>
                </a:lnTo>
                <a:lnTo>
                  <a:pt x="0" y="20065"/>
                </a:lnTo>
                <a:lnTo>
                  <a:pt x="1524" y="29972"/>
                </a:lnTo>
                <a:lnTo>
                  <a:pt x="4445" y="35432"/>
                </a:lnTo>
                <a:lnTo>
                  <a:pt x="7365" y="41020"/>
                </a:lnTo>
                <a:lnTo>
                  <a:pt x="14477" y="48005"/>
                </a:lnTo>
                <a:lnTo>
                  <a:pt x="25780" y="49275"/>
                </a:lnTo>
                <a:lnTo>
                  <a:pt x="32765" y="49149"/>
                </a:lnTo>
                <a:lnTo>
                  <a:pt x="43941" y="43306"/>
                </a:lnTo>
                <a:lnTo>
                  <a:pt x="48005" y="37718"/>
                </a:lnTo>
                <a:lnTo>
                  <a:pt x="50800" y="29210"/>
                </a:lnTo>
                <a:lnTo>
                  <a:pt x="50673" y="22098"/>
                </a:lnTo>
                <a:lnTo>
                  <a:pt x="43433" y="8254"/>
                </a:lnTo>
                <a:lnTo>
                  <a:pt x="36322" y="1269"/>
                </a:lnTo>
                <a:lnTo>
                  <a:pt x="25018" y="0"/>
                </a:lnTo>
                <a:close/>
              </a:path>
            </a:pathLst>
          </a:custGeom>
          <a:solidFill>
            <a:srgbClr val="D9D9D9"/>
          </a:solidFill>
        </p:spPr>
        <p:txBody>
          <a:bodyPr wrap="square" lIns="0" tIns="0" rIns="0" bIns="0" rtlCol="0"/>
          <a:lstStyle/>
          <a:p>
            <a:endParaRPr/>
          </a:p>
        </p:txBody>
      </p:sp>
      <p:sp>
        <p:nvSpPr>
          <p:cNvPr id="210" name="object 210"/>
          <p:cNvSpPr/>
          <p:nvPr/>
        </p:nvSpPr>
        <p:spPr>
          <a:xfrm>
            <a:off x="7821169" y="2493011"/>
            <a:ext cx="50800" cy="49530"/>
          </a:xfrm>
          <a:custGeom>
            <a:avLst/>
            <a:gdLst/>
            <a:ahLst/>
            <a:cxnLst/>
            <a:rect l="l" t="t" r="r" b="b"/>
            <a:pathLst>
              <a:path w="50800" h="49530">
                <a:moveTo>
                  <a:pt x="25018" y="0"/>
                </a:moveTo>
                <a:lnTo>
                  <a:pt x="18033" y="126"/>
                </a:lnTo>
                <a:lnTo>
                  <a:pt x="8254" y="8762"/>
                </a:lnTo>
                <a:lnTo>
                  <a:pt x="4190" y="14350"/>
                </a:lnTo>
                <a:lnTo>
                  <a:pt x="0" y="20065"/>
                </a:lnTo>
                <a:lnTo>
                  <a:pt x="1524" y="29972"/>
                </a:lnTo>
                <a:lnTo>
                  <a:pt x="4445" y="35432"/>
                </a:lnTo>
                <a:lnTo>
                  <a:pt x="7365" y="41020"/>
                </a:lnTo>
                <a:lnTo>
                  <a:pt x="14477" y="48005"/>
                </a:lnTo>
                <a:lnTo>
                  <a:pt x="25780" y="49275"/>
                </a:lnTo>
                <a:lnTo>
                  <a:pt x="32765" y="49149"/>
                </a:lnTo>
                <a:lnTo>
                  <a:pt x="43941" y="43306"/>
                </a:lnTo>
                <a:lnTo>
                  <a:pt x="48005" y="37718"/>
                </a:lnTo>
                <a:lnTo>
                  <a:pt x="50800" y="29210"/>
                </a:lnTo>
                <a:lnTo>
                  <a:pt x="50673" y="22098"/>
                </a:lnTo>
                <a:lnTo>
                  <a:pt x="43433" y="8254"/>
                </a:lnTo>
                <a:lnTo>
                  <a:pt x="36322" y="1269"/>
                </a:lnTo>
                <a:lnTo>
                  <a:pt x="25018" y="0"/>
                </a:lnTo>
                <a:close/>
              </a:path>
            </a:pathLst>
          </a:custGeom>
          <a:solidFill>
            <a:srgbClr val="D9D9D9"/>
          </a:solidFill>
        </p:spPr>
        <p:txBody>
          <a:bodyPr wrap="square" lIns="0" tIns="0" rIns="0" bIns="0" rtlCol="0"/>
          <a:lstStyle/>
          <a:p>
            <a:endParaRPr/>
          </a:p>
        </p:txBody>
      </p:sp>
      <p:sp>
        <p:nvSpPr>
          <p:cNvPr id="211" name="object 211"/>
          <p:cNvSpPr/>
          <p:nvPr/>
        </p:nvSpPr>
        <p:spPr>
          <a:xfrm>
            <a:off x="7975094" y="2544191"/>
            <a:ext cx="45085" cy="43815"/>
          </a:xfrm>
          <a:custGeom>
            <a:avLst/>
            <a:gdLst/>
            <a:ahLst/>
            <a:cxnLst/>
            <a:rect l="l" t="t" r="r" b="b"/>
            <a:pathLst>
              <a:path w="45084" h="43814">
                <a:moveTo>
                  <a:pt x="25018" y="0"/>
                </a:moveTo>
                <a:lnTo>
                  <a:pt x="15239" y="1524"/>
                </a:lnTo>
                <a:lnTo>
                  <a:pt x="6857" y="5842"/>
                </a:lnTo>
                <a:lnTo>
                  <a:pt x="2793" y="11557"/>
                </a:lnTo>
                <a:lnTo>
                  <a:pt x="0" y="20066"/>
                </a:lnTo>
                <a:lnTo>
                  <a:pt x="126" y="27050"/>
                </a:lnTo>
                <a:lnTo>
                  <a:pt x="5968" y="38226"/>
                </a:lnTo>
                <a:lnTo>
                  <a:pt x="22859" y="43561"/>
                </a:lnTo>
                <a:lnTo>
                  <a:pt x="29972" y="43561"/>
                </a:lnTo>
                <a:lnTo>
                  <a:pt x="38353" y="39116"/>
                </a:lnTo>
                <a:lnTo>
                  <a:pt x="42417" y="33528"/>
                </a:lnTo>
                <a:lnTo>
                  <a:pt x="45084" y="25019"/>
                </a:lnTo>
                <a:lnTo>
                  <a:pt x="44957" y="18034"/>
                </a:lnTo>
                <a:lnTo>
                  <a:pt x="42163" y="12446"/>
                </a:lnTo>
                <a:lnTo>
                  <a:pt x="39242" y="6858"/>
                </a:lnTo>
                <a:lnTo>
                  <a:pt x="33527" y="2667"/>
                </a:lnTo>
                <a:lnTo>
                  <a:pt x="25018" y="0"/>
                </a:lnTo>
                <a:close/>
              </a:path>
            </a:pathLst>
          </a:custGeom>
          <a:solidFill>
            <a:srgbClr val="D9D9D9"/>
          </a:solidFill>
        </p:spPr>
        <p:txBody>
          <a:bodyPr wrap="square" lIns="0" tIns="0" rIns="0" bIns="0" rtlCol="0"/>
          <a:lstStyle/>
          <a:p>
            <a:endParaRPr/>
          </a:p>
        </p:txBody>
      </p:sp>
      <p:sp>
        <p:nvSpPr>
          <p:cNvPr id="212" name="object 212"/>
          <p:cNvSpPr/>
          <p:nvPr/>
        </p:nvSpPr>
        <p:spPr>
          <a:xfrm>
            <a:off x="7975094" y="2544191"/>
            <a:ext cx="45085" cy="43815"/>
          </a:xfrm>
          <a:custGeom>
            <a:avLst/>
            <a:gdLst/>
            <a:ahLst/>
            <a:cxnLst/>
            <a:rect l="l" t="t" r="r" b="b"/>
            <a:pathLst>
              <a:path w="45084" h="43814">
                <a:moveTo>
                  <a:pt x="25018" y="0"/>
                </a:moveTo>
                <a:lnTo>
                  <a:pt x="15239" y="1524"/>
                </a:lnTo>
                <a:lnTo>
                  <a:pt x="6857" y="5842"/>
                </a:lnTo>
                <a:lnTo>
                  <a:pt x="2793" y="11557"/>
                </a:lnTo>
                <a:lnTo>
                  <a:pt x="0" y="20066"/>
                </a:lnTo>
                <a:lnTo>
                  <a:pt x="126" y="27050"/>
                </a:lnTo>
                <a:lnTo>
                  <a:pt x="5968" y="38226"/>
                </a:lnTo>
                <a:lnTo>
                  <a:pt x="22859" y="43561"/>
                </a:lnTo>
                <a:lnTo>
                  <a:pt x="29972" y="43561"/>
                </a:lnTo>
                <a:lnTo>
                  <a:pt x="38353" y="39116"/>
                </a:lnTo>
                <a:lnTo>
                  <a:pt x="42417" y="33528"/>
                </a:lnTo>
                <a:lnTo>
                  <a:pt x="45084" y="25019"/>
                </a:lnTo>
                <a:lnTo>
                  <a:pt x="44957" y="18034"/>
                </a:lnTo>
                <a:lnTo>
                  <a:pt x="42163" y="12446"/>
                </a:lnTo>
                <a:lnTo>
                  <a:pt x="39242" y="6858"/>
                </a:lnTo>
                <a:lnTo>
                  <a:pt x="33527" y="2667"/>
                </a:lnTo>
                <a:lnTo>
                  <a:pt x="25018" y="0"/>
                </a:lnTo>
                <a:close/>
              </a:path>
            </a:pathLst>
          </a:custGeom>
          <a:solidFill>
            <a:srgbClr val="D9D9D9"/>
          </a:solidFill>
        </p:spPr>
        <p:txBody>
          <a:bodyPr wrap="square" lIns="0" tIns="0" rIns="0" bIns="0" rtlCol="0"/>
          <a:lstStyle/>
          <a:p>
            <a:endParaRPr/>
          </a:p>
        </p:txBody>
      </p:sp>
      <p:sp>
        <p:nvSpPr>
          <p:cNvPr id="213" name="object 213"/>
          <p:cNvSpPr/>
          <p:nvPr/>
        </p:nvSpPr>
        <p:spPr>
          <a:xfrm>
            <a:off x="8118220" y="2620773"/>
            <a:ext cx="40005" cy="40005"/>
          </a:xfrm>
          <a:custGeom>
            <a:avLst/>
            <a:gdLst/>
            <a:ahLst/>
            <a:cxnLst/>
            <a:rect l="l" t="t" r="r" b="b"/>
            <a:pathLst>
              <a:path w="40004" h="40005">
                <a:moveTo>
                  <a:pt x="27812" y="0"/>
                </a:moveTo>
                <a:lnTo>
                  <a:pt x="13843" y="126"/>
                </a:lnTo>
                <a:lnTo>
                  <a:pt x="5460" y="4572"/>
                </a:lnTo>
                <a:lnTo>
                  <a:pt x="4063" y="8762"/>
                </a:lnTo>
                <a:lnTo>
                  <a:pt x="0" y="14477"/>
                </a:lnTo>
                <a:lnTo>
                  <a:pt x="20065" y="39497"/>
                </a:lnTo>
                <a:lnTo>
                  <a:pt x="27050" y="39369"/>
                </a:lnTo>
                <a:lnTo>
                  <a:pt x="33908" y="32257"/>
                </a:lnTo>
                <a:lnTo>
                  <a:pt x="39497" y="29337"/>
                </a:lnTo>
                <a:lnTo>
                  <a:pt x="39243" y="8254"/>
                </a:lnTo>
                <a:lnTo>
                  <a:pt x="35051" y="6857"/>
                </a:lnTo>
                <a:lnTo>
                  <a:pt x="27812" y="0"/>
                </a:lnTo>
                <a:close/>
              </a:path>
            </a:pathLst>
          </a:custGeom>
          <a:solidFill>
            <a:srgbClr val="D9D9D9"/>
          </a:solidFill>
        </p:spPr>
        <p:txBody>
          <a:bodyPr wrap="square" lIns="0" tIns="0" rIns="0" bIns="0" rtlCol="0"/>
          <a:lstStyle/>
          <a:p>
            <a:endParaRPr/>
          </a:p>
        </p:txBody>
      </p:sp>
      <p:sp>
        <p:nvSpPr>
          <p:cNvPr id="214" name="object 214"/>
          <p:cNvSpPr/>
          <p:nvPr/>
        </p:nvSpPr>
        <p:spPr>
          <a:xfrm>
            <a:off x="8118220" y="2620773"/>
            <a:ext cx="40005" cy="40005"/>
          </a:xfrm>
          <a:custGeom>
            <a:avLst/>
            <a:gdLst/>
            <a:ahLst/>
            <a:cxnLst/>
            <a:rect l="l" t="t" r="r" b="b"/>
            <a:pathLst>
              <a:path w="40004" h="40005">
                <a:moveTo>
                  <a:pt x="27812" y="0"/>
                </a:moveTo>
                <a:lnTo>
                  <a:pt x="13843" y="126"/>
                </a:lnTo>
                <a:lnTo>
                  <a:pt x="5460" y="4572"/>
                </a:lnTo>
                <a:lnTo>
                  <a:pt x="4063" y="8762"/>
                </a:lnTo>
                <a:lnTo>
                  <a:pt x="0" y="14477"/>
                </a:lnTo>
                <a:lnTo>
                  <a:pt x="20065" y="39497"/>
                </a:lnTo>
                <a:lnTo>
                  <a:pt x="27050" y="39369"/>
                </a:lnTo>
                <a:lnTo>
                  <a:pt x="33908" y="32257"/>
                </a:lnTo>
                <a:lnTo>
                  <a:pt x="39497" y="29337"/>
                </a:lnTo>
                <a:lnTo>
                  <a:pt x="39243" y="8254"/>
                </a:lnTo>
                <a:lnTo>
                  <a:pt x="35051" y="6857"/>
                </a:lnTo>
                <a:lnTo>
                  <a:pt x="27812" y="0"/>
                </a:lnTo>
                <a:close/>
              </a:path>
            </a:pathLst>
          </a:custGeom>
          <a:solidFill>
            <a:srgbClr val="D9D9D9"/>
          </a:solidFill>
        </p:spPr>
        <p:txBody>
          <a:bodyPr wrap="square" lIns="0" tIns="0" rIns="0" bIns="0" rtlCol="0"/>
          <a:lstStyle/>
          <a:p>
            <a:endParaRPr/>
          </a:p>
        </p:txBody>
      </p:sp>
      <p:sp>
        <p:nvSpPr>
          <p:cNvPr id="215" name="object 215"/>
          <p:cNvSpPr/>
          <p:nvPr/>
        </p:nvSpPr>
        <p:spPr>
          <a:xfrm>
            <a:off x="8246110" y="2718689"/>
            <a:ext cx="36830" cy="35560"/>
          </a:xfrm>
          <a:custGeom>
            <a:avLst/>
            <a:gdLst/>
            <a:ahLst/>
            <a:cxnLst/>
            <a:rect l="l" t="t" r="r" b="b"/>
            <a:pathLst>
              <a:path w="36829" h="35560">
                <a:moveTo>
                  <a:pt x="25146" y="0"/>
                </a:moveTo>
                <a:lnTo>
                  <a:pt x="11049" y="253"/>
                </a:lnTo>
                <a:lnTo>
                  <a:pt x="5461" y="3048"/>
                </a:lnTo>
                <a:lnTo>
                  <a:pt x="1397" y="8762"/>
                </a:lnTo>
                <a:lnTo>
                  <a:pt x="0" y="13081"/>
                </a:lnTo>
                <a:lnTo>
                  <a:pt x="126" y="20065"/>
                </a:lnTo>
                <a:lnTo>
                  <a:pt x="3048" y="25653"/>
                </a:lnTo>
                <a:lnTo>
                  <a:pt x="4445" y="28448"/>
                </a:lnTo>
                <a:lnTo>
                  <a:pt x="11557" y="35306"/>
                </a:lnTo>
                <a:lnTo>
                  <a:pt x="18669" y="35306"/>
                </a:lnTo>
                <a:lnTo>
                  <a:pt x="25654" y="35178"/>
                </a:lnTo>
                <a:lnTo>
                  <a:pt x="31242" y="32258"/>
                </a:lnTo>
                <a:lnTo>
                  <a:pt x="35306" y="26543"/>
                </a:lnTo>
                <a:lnTo>
                  <a:pt x="35306" y="19558"/>
                </a:lnTo>
                <a:lnTo>
                  <a:pt x="36575" y="15239"/>
                </a:lnTo>
                <a:lnTo>
                  <a:pt x="33655" y="9778"/>
                </a:lnTo>
                <a:lnTo>
                  <a:pt x="30861" y="4190"/>
                </a:lnTo>
                <a:lnTo>
                  <a:pt x="25146" y="0"/>
                </a:lnTo>
                <a:close/>
              </a:path>
            </a:pathLst>
          </a:custGeom>
          <a:solidFill>
            <a:srgbClr val="D9D9D9"/>
          </a:solidFill>
        </p:spPr>
        <p:txBody>
          <a:bodyPr wrap="square" lIns="0" tIns="0" rIns="0" bIns="0" rtlCol="0"/>
          <a:lstStyle/>
          <a:p>
            <a:endParaRPr/>
          </a:p>
        </p:txBody>
      </p:sp>
      <p:sp>
        <p:nvSpPr>
          <p:cNvPr id="216" name="object 216"/>
          <p:cNvSpPr/>
          <p:nvPr/>
        </p:nvSpPr>
        <p:spPr>
          <a:xfrm>
            <a:off x="8246110" y="2718689"/>
            <a:ext cx="36830" cy="35560"/>
          </a:xfrm>
          <a:custGeom>
            <a:avLst/>
            <a:gdLst/>
            <a:ahLst/>
            <a:cxnLst/>
            <a:rect l="l" t="t" r="r" b="b"/>
            <a:pathLst>
              <a:path w="36829" h="35560">
                <a:moveTo>
                  <a:pt x="25146" y="0"/>
                </a:moveTo>
                <a:lnTo>
                  <a:pt x="11049" y="253"/>
                </a:lnTo>
                <a:lnTo>
                  <a:pt x="5461" y="3048"/>
                </a:lnTo>
                <a:lnTo>
                  <a:pt x="1397" y="8762"/>
                </a:lnTo>
                <a:lnTo>
                  <a:pt x="0" y="13081"/>
                </a:lnTo>
                <a:lnTo>
                  <a:pt x="126" y="20065"/>
                </a:lnTo>
                <a:lnTo>
                  <a:pt x="3048" y="25653"/>
                </a:lnTo>
                <a:lnTo>
                  <a:pt x="4445" y="28448"/>
                </a:lnTo>
                <a:lnTo>
                  <a:pt x="11557" y="35306"/>
                </a:lnTo>
                <a:lnTo>
                  <a:pt x="18669" y="35306"/>
                </a:lnTo>
                <a:lnTo>
                  <a:pt x="25654" y="35178"/>
                </a:lnTo>
                <a:lnTo>
                  <a:pt x="31242" y="32258"/>
                </a:lnTo>
                <a:lnTo>
                  <a:pt x="35306" y="26543"/>
                </a:lnTo>
                <a:lnTo>
                  <a:pt x="35306" y="19558"/>
                </a:lnTo>
                <a:lnTo>
                  <a:pt x="36575" y="15239"/>
                </a:lnTo>
                <a:lnTo>
                  <a:pt x="33655" y="9778"/>
                </a:lnTo>
                <a:lnTo>
                  <a:pt x="30861" y="4190"/>
                </a:lnTo>
                <a:lnTo>
                  <a:pt x="25146" y="0"/>
                </a:lnTo>
                <a:close/>
              </a:path>
            </a:pathLst>
          </a:custGeom>
          <a:solidFill>
            <a:srgbClr val="D9D9D9"/>
          </a:solidFill>
        </p:spPr>
        <p:txBody>
          <a:bodyPr wrap="square" lIns="0" tIns="0" rIns="0" bIns="0" rtlCol="0"/>
          <a:lstStyle/>
          <a:p>
            <a:endParaRPr/>
          </a:p>
        </p:txBody>
      </p:sp>
      <p:sp>
        <p:nvSpPr>
          <p:cNvPr id="217" name="object 217"/>
          <p:cNvSpPr/>
          <p:nvPr/>
        </p:nvSpPr>
        <p:spPr>
          <a:xfrm>
            <a:off x="8354822" y="2836672"/>
            <a:ext cx="34290" cy="33020"/>
          </a:xfrm>
          <a:custGeom>
            <a:avLst/>
            <a:gdLst/>
            <a:ahLst/>
            <a:cxnLst/>
            <a:rect l="l" t="t" r="r" b="b"/>
            <a:pathLst>
              <a:path w="34290" h="33019">
                <a:moveTo>
                  <a:pt x="16509" y="0"/>
                </a:moveTo>
                <a:lnTo>
                  <a:pt x="11049" y="2920"/>
                </a:lnTo>
                <a:lnTo>
                  <a:pt x="5460" y="5841"/>
                </a:lnTo>
                <a:lnTo>
                  <a:pt x="0" y="15748"/>
                </a:lnTo>
                <a:lnTo>
                  <a:pt x="1524" y="25526"/>
                </a:lnTo>
                <a:lnTo>
                  <a:pt x="2921" y="28320"/>
                </a:lnTo>
                <a:lnTo>
                  <a:pt x="8635" y="32512"/>
                </a:lnTo>
                <a:lnTo>
                  <a:pt x="22732" y="32257"/>
                </a:lnTo>
                <a:lnTo>
                  <a:pt x="28194" y="29337"/>
                </a:lnTo>
                <a:lnTo>
                  <a:pt x="33781" y="19430"/>
                </a:lnTo>
                <a:lnTo>
                  <a:pt x="32130" y="9651"/>
                </a:lnTo>
                <a:lnTo>
                  <a:pt x="29336" y="4063"/>
                </a:lnTo>
                <a:lnTo>
                  <a:pt x="25019" y="2666"/>
                </a:lnTo>
                <a:lnTo>
                  <a:pt x="16509" y="0"/>
                </a:lnTo>
                <a:close/>
              </a:path>
            </a:pathLst>
          </a:custGeom>
          <a:solidFill>
            <a:srgbClr val="D9D9D9"/>
          </a:solidFill>
        </p:spPr>
        <p:txBody>
          <a:bodyPr wrap="square" lIns="0" tIns="0" rIns="0" bIns="0" rtlCol="0"/>
          <a:lstStyle/>
          <a:p>
            <a:endParaRPr/>
          </a:p>
        </p:txBody>
      </p:sp>
      <p:sp>
        <p:nvSpPr>
          <p:cNvPr id="218" name="object 218"/>
          <p:cNvSpPr/>
          <p:nvPr/>
        </p:nvSpPr>
        <p:spPr>
          <a:xfrm>
            <a:off x="8354822" y="2836672"/>
            <a:ext cx="34290" cy="33020"/>
          </a:xfrm>
          <a:custGeom>
            <a:avLst/>
            <a:gdLst/>
            <a:ahLst/>
            <a:cxnLst/>
            <a:rect l="l" t="t" r="r" b="b"/>
            <a:pathLst>
              <a:path w="34290" h="33019">
                <a:moveTo>
                  <a:pt x="16509" y="0"/>
                </a:moveTo>
                <a:lnTo>
                  <a:pt x="11049" y="2920"/>
                </a:lnTo>
                <a:lnTo>
                  <a:pt x="5460" y="5841"/>
                </a:lnTo>
                <a:lnTo>
                  <a:pt x="0" y="15748"/>
                </a:lnTo>
                <a:lnTo>
                  <a:pt x="1524" y="25526"/>
                </a:lnTo>
                <a:lnTo>
                  <a:pt x="2921" y="28320"/>
                </a:lnTo>
                <a:lnTo>
                  <a:pt x="8635" y="32512"/>
                </a:lnTo>
                <a:lnTo>
                  <a:pt x="22732" y="32257"/>
                </a:lnTo>
                <a:lnTo>
                  <a:pt x="28194" y="29337"/>
                </a:lnTo>
                <a:lnTo>
                  <a:pt x="33781" y="19430"/>
                </a:lnTo>
                <a:lnTo>
                  <a:pt x="32130" y="9651"/>
                </a:lnTo>
                <a:lnTo>
                  <a:pt x="29336" y="4063"/>
                </a:lnTo>
                <a:lnTo>
                  <a:pt x="25019" y="2666"/>
                </a:lnTo>
                <a:lnTo>
                  <a:pt x="16509" y="0"/>
                </a:lnTo>
                <a:close/>
              </a:path>
            </a:pathLst>
          </a:custGeom>
          <a:solidFill>
            <a:srgbClr val="D9D9D9"/>
          </a:solidFill>
        </p:spPr>
        <p:txBody>
          <a:bodyPr wrap="square" lIns="0" tIns="0" rIns="0" bIns="0" rtlCol="0"/>
          <a:lstStyle/>
          <a:p>
            <a:endParaRPr/>
          </a:p>
        </p:txBody>
      </p:sp>
      <p:sp>
        <p:nvSpPr>
          <p:cNvPr id="219" name="object 219"/>
          <p:cNvSpPr/>
          <p:nvPr/>
        </p:nvSpPr>
        <p:spPr>
          <a:xfrm>
            <a:off x="6729476" y="3175507"/>
            <a:ext cx="62230" cy="63500"/>
          </a:xfrm>
          <a:custGeom>
            <a:avLst/>
            <a:gdLst/>
            <a:ahLst/>
            <a:cxnLst/>
            <a:rect l="l" t="t" r="r" b="b"/>
            <a:pathLst>
              <a:path w="62229" h="63500">
                <a:moveTo>
                  <a:pt x="33147" y="0"/>
                </a:moveTo>
                <a:lnTo>
                  <a:pt x="1270" y="27177"/>
                </a:lnTo>
                <a:lnTo>
                  <a:pt x="0" y="38353"/>
                </a:lnTo>
                <a:lnTo>
                  <a:pt x="4318" y="46736"/>
                </a:lnTo>
                <a:lnTo>
                  <a:pt x="7239" y="52324"/>
                </a:lnTo>
                <a:lnTo>
                  <a:pt x="18542" y="60578"/>
                </a:lnTo>
                <a:lnTo>
                  <a:pt x="41148" y="63118"/>
                </a:lnTo>
                <a:lnTo>
                  <a:pt x="50800" y="54482"/>
                </a:lnTo>
                <a:lnTo>
                  <a:pt x="57784" y="47370"/>
                </a:lnTo>
                <a:lnTo>
                  <a:pt x="60451" y="38862"/>
                </a:lnTo>
                <a:lnTo>
                  <a:pt x="61722" y="27686"/>
                </a:lnTo>
                <a:lnTo>
                  <a:pt x="57403" y="19303"/>
                </a:lnTo>
                <a:lnTo>
                  <a:pt x="52958" y="10921"/>
                </a:lnTo>
                <a:lnTo>
                  <a:pt x="33147" y="0"/>
                </a:lnTo>
                <a:close/>
              </a:path>
            </a:pathLst>
          </a:custGeom>
          <a:solidFill>
            <a:srgbClr val="D9D9D9"/>
          </a:solidFill>
        </p:spPr>
        <p:txBody>
          <a:bodyPr wrap="square" lIns="0" tIns="0" rIns="0" bIns="0" rtlCol="0"/>
          <a:lstStyle/>
          <a:p>
            <a:endParaRPr/>
          </a:p>
        </p:txBody>
      </p:sp>
      <p:sp>
        <p:nvSpPr>
          <p:cNvPr id="220" name="object 220"/>
          <p:cNvSpPr/>
          <p:nvPr/>
        </p:nvSpPr>
        <p:spPr>
          <a:xfrm>
            <a:off x="6729476" y="3175507"/>
            <a:ext cx="62230" cy="63500"/>
          </a:xfrm>
          <a:custGeom>
            <a:avLst/>
            <a:gdLst/>
            <a:ahLst/>
            <a:cxnLst/>
            <a:rect l="l" t="t" r="r" b="b"/>
            <a:pathLst>
              <a:path w="62229" h="63500">
                <a:moveTo>
                  <a:pt x="33147" y="0"/>
                </a:moveTo>
                <a:lnTo>
                  <a:pt x="1270" y="27177"/>
                </a:lnTo>
                <a:lnTo>
                  <a:pt x="0" y="38353"/>
                </a:lnTo>
                <a:lnTo>
                  <a:pt x="4318" y="46736"/>
                </a:lnTo>
                <a:lnTo>
                  <a:pt x="7239" y="52324"/>
                </a:lnTo>
                <a:lnTo>
                  <a:pt x="18542" y="60578"/>
                </a:lnTo>
                <a:lnTo>
                  <a:pt x="41148" y="63118"/>
                </a:lnTo>
                <a:lnTo>
                  <a:pt x="50800" y="54482"/>
                </a:lnTo>
                <a:lnTo>
                  <a:pt x="57784" y="47370"/>
                </a:lnTo>
                <a:lnTo>
                  <a:pt x="60451" y="38862"/>
                </a:lnTo>
                <a:lnTo>
                  <a:pt x="61722" y="27686"/>
                </a:lnTo>
                <a:lnTo>
                  <a:pt x="57403" y="19303"/>
                </a:lnTo>
                <a:lnTo>
                  <a:pt x="52958" y="10921"/>
                </a:lnTo>
                <a:lnTo>
                  <a:pt x="33147" y="0"/>
                </a:lnTo>
                <a:close/>
              </a:path>
            </a:pathLst>
          </a:custGeom>
          <a:solidFill>
            <a:srgbClr val="D9D9D9"/>
          </a:solidFill>
        </p:spPr>
        <p:txBody>
          <a:bodyPr wrap="square" lIns="0" tIns="0" rIns="0" bIns="0" rtlCol="0"/>
          <a:lstStyle/>
          <a:p>
            <a:endParaRPr/>
          </a:p>
        </p:txBody>
      </p:sp>
      <p:sp>
        <p:nvSpPr>
          <p:cNvPr id="221" name="object 221"/>
          <p:cNvSpPr/>
          <p:nvPr/>
        </p:nvSpPr>
        <p:spPr>
          <a:xfrm>
            <a:off x="6710682" y="3338829"/>
            <a:ext cx="57785" cy="55244"/>
          </a:xfrm>
          <a:custGeom>
            <a:avLst/>
            <a:gdLst/>
            <a:ahLst/>
            <a:cxnLst/>
            <a:rect l="l" t="t" r="r" b="b"/>
            <a:pathLst>
              <a:path w="57784" h="55245">
                <a:moveTo>
                  <a:pt x="30479" y="0"/>
                </a:moveTo>
                <a:lnTo>
                  <a:pt x="0" y="29972"/>
                </a:lnTo>
                <a:lnTo>
                  <a:pt x="8636" y="46736"/>
                </a:lnTo>
                <a:lnTo>
                  <a:pt x="18669" y="52197"/>
                </a:lnTo>
                <a:lnTo>
                  <a:pt x="27050" y="54864"/>
                </a:lnTo>
                <a:lnTo>
                  <a:pt x="36956" y="53340"/>
                </a:lnTo>
                <a:lnTo>
                  <a:pt x="48005" y="47498"/>
                </a:lnTo>
                <a:lnTo>
                  <a:pt x="54991" y="40386"/>
                </a:lnTo>
                <a:lnTo>
                  <a:pt x="57658" y="31877"/>
                </a:lnTo>
                <a:lnTo>
                  <a:pt x="54610" y="12319"/>
                </a:lnTo>
                <a:lnTo>
                  <a:pt x="48895" y="8128"/>
                </a:lnTo>
                <a:lnTo>
                  <a:pt x="41783" y="1270"/>
                </a:lnTo>
                <a:lnTo>
                  <a:pt x="30479" y="0"/>
                </a:lnTo>
                <a:close/>
              </a:path>
            </a:pathLst>
          </a:custGeom>
          <a:solidFill>
            <a:srgbClr val="D9D9D9"/>
          </a:solidFill>
        </p:spPr>
        <p:txBody>
          <a:bodyPr wrap="square" lIns="0" tIns="0" rIns="0" bIns="0" rtlCol="0"/>
          <a:lstStyle/>
          <a:p>
            <a:endParaRPr/>
          </a:p>
        </p:txBody>
      </p:sp>
      <p:sp>
        <p:nvSpPr>
          <p:cNvPr id="222" name="object 222"/>
          <p:cNvSpPr/>
          <p:nvPr/>
        </p:nvSpPr>
        <p:spPr>
          <a:xfrm>
            <a:off x="6710682" y="3338829"/>
            <a:ext cx="57785" cy="55244"/>
          </a:xfrm>
          <a:custGeom>
            <a:avLst/>
            <a:gdLst/>
            <a:ahLst/>
            <a:cxnLst/>
            <a:rect l="l" t="t" r="r" b="b"/>
            <a:pathLst>
              <a:path w="57784" h="55245">
                <a:moveTo>
                  <a:pt x="30479" y="0"/>
                </a:moveTo>
                <a:lnTo>
                  <a:pt x="0" y="29972"/>
                </a:lnTo>
                <a:lnTo>
                  <a:pt x="8636" y="46736"/>
                </a:lnTo>
                <a:lnTo>
                  <a:pt x="18669" y="52197"/>
                </a:lnTo>
                <a:lnTo>
                  <a:pt x="27050" y="54864"/>
                </a:lnTo>
                <a:lnTo>
                  <a:pt x="36956" y="53340"/>
                </a:lnTo>
                <a:lnTo>
                  <a:pt x="48005" y="47498"/>
                </a:lnTo>
                <a:lnTo>
                  <a:pt x="54991" y="40386"/>
                </a:lnTo>
                <a:lnTo>
                  <a:pt x="57658" y="31877"/>
                </a:lnTo>
                <a:lnTo>
                  <a:pt x="54610" y="12319"/>
                </a:lnTo>
                <a:lnTo>
                  <a:pt x="48895" y="8128"/>
                </a:lnTo>
                <a:lnTo>
                  <a:pt x="41783" y="1270"/>
                </a:lnTo>
                <a:lnTo>
                  <a:pt x="30479" y="0"/>
                </a:lnTo>
                <a:close/>
              </a:path>
            </a:pathLst>
          </a:custGeom>
          <a:solidFill>
            <a:srgbClr val="D9D9D9"/>
          </a:solidFill>
        </p:spPr>
        <p:txBody>
          <a:bodyPr wrap="square" lIns="0" tIns="0" rIns="0" bIns="0" rtlCol="0"/>
          <a:lstStyle/>
          <a:p>
            <a:endParaRPr/>
          </a:p>
        </p:txBody>
      </p:sp>
      <p:sp>
        <p:nvSpPr>
          <p:cNvPr id="223" name="object 223"/>
          <p:cNvSpPr/>
          <p:nvPr/>
        </p:nvSpPr>
        <p:spPr>
          <a:xfrm>
            <a:off x="6721347" y="3498977"/>
            <a:ext cx="50800" cy="50800"/>
          </a:xfrm>
          <a:custGeom>
            <a:avLst/>
            <a:gdLst/>
            <a:ahLst/>
            <a:cxnLst/>
            <a:rect l="l" t="t" r="r" b="b"/>
            <a:pathLst>
              <a:path w="50800" h="50800">
                <a:moveTo>
                  <a:pt x="25019" y="0"/>
                </a:moveTo>
                <a:lnTo>
                  <a:pt x="15240" y="1650"/>
                </a:lnTo>
                <a:lnTo>
                  <a:pt x="6857" y="5969"/>
                </a:lnTo>
                <a:lnTo>
                  <a:pt x="2667" y="11557"/>
                </a:lnTo>
                <a:lnTo>
                  <a:pt x="0" y="20065"/>
                </a:lnTo>
                <a:lnTo>
                  <a:pt x="126" y="27177"/>
                </a:lnTo>
                <a:lnTo>
                  <a:pt x="1650" y="36957"/>
                </a:lnTo>
                <a:lnTo>
                  <a:pt x="7366" y="41021"/>
                </a:lnTo>
                <a:lnTo>
                  <a:pt x="14477" y="48006"/>
                </a:lnTo>
                <a:lnTo>
                  <a:pt x="22986" y="50673"/>
                </a:lnTo>
                <a:lnTo>
                  <a:pt x="32766" y="49149"/>
                </a:lnTo>
                <a:lnTo>
                  <a:pt x="41148" y="44831"/>
                </a:lnTo>
                <a:lnTo>
                  <a:pt x="48005" y="37592"/>
                </a:lnTo>
                <a:lnTo>
                  <a:pt x="50800" y="29210"/>
                </a:lnTo>
                <a:lnTo>
                  <a:pt x="50673" y="22098"/>
                </a:lnTo>
                <a:lnTo>
                  <a:pt x="43433" y="8255"/>
                </a:lnTo>
                <a:lnTo>
                  <a:pt x="36322" y="1270"/>
                </a:lnTo>
                <a:lnTo>
                  <a:pt x="25019" y="0"/>
                </a:lnTo>
                <a:close/>
              </a:path>
            </a:pathLst>
          </a:custGeom>
          <a:solidFill>
            <a:srgbClr val="D9D9D9"/>
          </a:solidFill>
        </p:spPr>
        <p:txBody>
          <a:bodyPr wrap="square" lIns="0" tIns="0" rIns="0" bIns="0" rtlCol="0"/>
          <a:lstStyle/>
          <a:p>
            <a:endParaRPr/>
          </a:p>
        </p:txBody>
      </p:sp>
      <p:sp>
        <p:nvSpPr>
          <p:cNvPr id="224" name="object 224"/>
          <p:cNvSpPr/>
          <p:nvPr/>
        </p:nvSpPr>
        <p:spPr>
          <a:xfrm>
            <a:off x="6721347" y="3498977"/>
            <a:ext cx="50800" cy="50800"/>
          </a:xfrm>
          <a:custGeom>
            <a:avLst/>
            <a:gdLst/>
            <a:ahLst/>
            <a:cxnLst/>
            <a:rect l="l" t="t" r="r" b="b"/>
            <a:pathLst>
              <a:path w="50800" h="50800">
                <a:moveTo>
                  <a:pt x="25019" y="0"/>
                </a:moveTo>
                <a:lnTo>
                  <a:pt x="15240" y="1650"/>
                </a:lnTo>
                <a:lnTo>
                  <a:pt x="6857" y="5969"/>
                </a:lnTo>
                <a:lnTo>
                  <a:pt x="2667" y="11557"/>
                </a:lnTo>
                <a:lnTo>
                  <a:pt x="0" y="20065"/>
                </a:lnTo>
                <a:lnTo>
                  <a:pt x="126" y="27177"/>
                </a:lnTo>
                <a:lnTo>
                  <a:pt x="1650" y="36957"/>
                </a:lnTo>
                <a:lnTo>
                  <a:pt x="7366" y="41021"/>
                </a:lnTo>
                <a:lnTo>
                  <a:pt x="14477" y="48006"/>
                </a:lnTo>
                <a:lnTo>
                  <a:pt x="22986" y="50673"/>
                </a:lnTo>
                <a:lnTo>
                  <a:pt x="32766" y="49149"/>
                </a:lnTo>
                <a:lnTo>
                  <a:pt x="41148" y="44831"/>
                </a:lnTo>
                <a:lnTo>
                  <a:pt x="48005" y="37592"/>
                </a:lnTo>
                <a:lnTo>
                  <a:pt x="50800" y="29210"/>
                </a:lnTo>
                <a:lnTo>
                  <a:pt x="50673" y="22098"/>
                </a:lnTo>
                <a:lnTo>
                  <a:pt x="43433" y="8255"/>
                </a:lnTo>
                <a:lnTo>
                  <a:pt x="36322" y="1270"/>
                </a:lnTo>
                <a:lnTo>
                  <a:pt x="25019" y="0"/>
                </a:lnTo>
                <a:close/>
              </a:path>
            </a:pathLst>
          </a:custGeom>
          <a:solidFill>
            <a:srgbClr val="D9D9D9"/>
          </a:solidFill>
        </p:spPr>
        <p:txBody>
          <a:bodyPr wrap="square" lIns="0" tIns="0" rIns="0" bIns="0" rtlCol="0"/>
          <a:lstStyle/>
          <a:p>
            <a:endParaRPr/>
          </a:p>
        </p:txBody>
      </p:sp>
      <p:sp>
        <p:nvSpPr>
          <p:cNvPr id="225" name="object 225"/>
          <p:cNvSpPr/>
          <p:nvPr/>
        </p:nvSpPr>
        <p:spPr>
          <a:xfrm>
            <a:off x="6758815" y="3657220"/>
            <a:ext cx="43814" cy="43815"/>
          </a:xfrm>
          <a:custGeom>
            <a:avLst/>
            <a:gdLst/>
            <a:ahLst/>
            <a:cxnLst/>
            <a:rect l="l" t="t" r="r" b="b"/>
            <a:pathLst>
              <a:path w="43815" h="43814">
                <a:moveTo>
                  <a:pt x="30606" y="0"/>
                </a:moveTo>
                <a:lnTo>
                  <a:pt x="0" y="15874"/>
                </a:lnTo>
                <a:lnTo>
                  <a:pt x="126" y="22986"/>
                </a:lnTo>
                <a:lnTo>
                  <a:pt x="1650" y="32765"/>
                </a:lnTo>
                <a:lnTo>
                  <a:pt x="4571" y="38353"/>
                </a:lnTo>
                <a:lnTo>
                  <a:pt x="21462" y="43687"/>
                </a:lnTo>
                <a:lnTo>
                  <a:pt x="28447" y="43560"/>
                </a:lnTo>
                <a:lnTo>
                  <a:pt x="36829" y="39242"/>
                </a:lnTo>
                <a:lnTo>
                  <a:pt x="41020" y="33527"/>
                </a:lnTo>
                <a:lnTo>
                  <a:pt x="43687" y="25145"/>
                </a:lnTo>
                <a:lnTo>
                  <a:pt x="43560" y="18033"/>
                </a:lnTo>
                <a:lnTo>
                  <a:pt x="40639" y="12445"/>
                </a:lnTo>
                <a:lnTo>
                  <a:pt x="37845" y="6984"/>
                </a:lnTo>
                <a:lnTo>
                  <a:pt x="30606" y="0"/>
                </a:lnTo>
                <a:close/>
              </a:path>
            </a:pathLst>
          </a:custGeom>
          <a:solidFill>
            <a:srgbClr val="D9D9D9"/>
          </a:solidFill>
        </p:spPr>
        <p:txBody>
          <a:bodyPr wrap="square" lIns="0" tIns="0" rIns="0" bIns="0" rtlCol="0"/>
          <a:lstStyle/>
          <a:p>
            <a:endParaRPr/>
          </a:p>
        </p:txBody>
      </p:sp>
      <p:sp>
        <p:nvSpPr>
          <p:cNvPr id="226" name="object 226"/>
          <p:cNvSpPr/>
          <p:nvPr/>
        </p:nvSpPr>
        <p:spPr>
          <a:xfrm>
            <a:off x="6758815" y="3657220"/>
            <a:ext cx="43814" cy="43815"/>
          </a:xfrm>
          <a:custGeom>
            <a:avLst/>
            <a:gdLst/>
            <a:ahLst/>
            <a:cxnLst/>
            <a:rect l="l" t="t" r="r" b="b"/>
            <a:pathLst>
              <a:path w="43815" h="43814">
                <a:moveTo>
                  <a:pt x="30606" y="0"/>
                </a:moveTo>
                <a:lnTo>
                  <a:pt x="0" y="15874"/>
                </a:lnTo>
                <a:lnTo>
                  <a:pt x="126" y="22986"/>
                </a:lnTo>
                <a:lnTo>
                  <a:pt x="1650" y="32765"/>
                </a:lnTo>
                <a:lnTo>
                  <a:pt x="4571" y="38353"/>
                </a:lnTo>
                <a:lnTo>
                  <a:pt x="21462" y="43687"/>
                </a:lnTo>
                <a:lnTo>
                  <a:pt x="28447" y="43560"/>
                </a:lnTo>
                <a:lnTo>
                  <a:pt x="36829" y="39242"/>
                </a:lnTo>
                <a:lnTo>
                  <a:pt x="41020" y="33527"/>
                </a:lnTo>
                <a:lnTo>
                  <a:pt x="43687" y="25145"/>
                </a:lnTo>
                <a:lnTo>
                  <a:pt x="43560" y="18033"/>
                </a:lnTo>
                <a:lnTo>
                  <a:pt x="40639" y="12445"/>
                </a:lnTo>
                <a:lnTo>
                  <a:pt x="37845" y="6984"/>
                </a:lnTo>
                <a:lnTo>
                  <a:pt x="30606" y="0"/>
                </a:lnTo>
                <a:close/>
              </a:path>
            </a:pathLst>
          </a:custGeom>
          <a:solidFill>
            <a:srgbClr val="D9D9D9"/>
          </a:solidFill>
        </p:spPr>
        <p:txBody>
          <a:bodyPr wrap="square" lIns="0" tIns="0" rIns="0" bIns="0" rtlCol="0"/>
          <a:lstStyle/>
          <a:p>
            <a:endParaRPr/>
          </a:p>
        </p:txBody>
      </p:sp>
      <p:sp>
        <p:nvSpPr>
          <p:cNvPr id="227" name="object 227"/>
          <p:cNvSpPr/>
          <p:nvPr/>
        </p:nvSpPr>
        <p:spPr>
          <a:xfrm>
            <a:off x="6821424" y="3804031"/>
            <a:ext cx="40005" cy="42545"/>
          </a:xfrm>
          <a:custGeom>
            <a:avLst/>
            <a:gdLst/>
            <a:ahLst/>
            <a:cxnLst/>
            <a:rect l="l" t="t" r="r" b="b"/>
            <a:pathLst>
              <a:path w="40004" h="42545">
                <a:moveTo>
                  <a:pt x="19430" y="0"/>
                </a:moveTo>
                <a:lnTo>
                  <a:pt x="5460" y="7239"/>
                </a:lnTo>
                <a:lnTo>
                  <a:pt x="1397" y="12954"/>
                </a:lnTo>
                <a:lnTo>
                  <a:pt x="0" y="17145"/>
                </a:lnTo>
                <a:lnTo>
                  <a:pt x="253" y="31242"/>
                </a:lnTo>
                <a:lnTo>
                  <a:pt x="5842" y="35433"/>
                </a:lnTo>
                <a:lnTo>
                  <a:pt x="11556" y="39497"/>
                </a:lnTo>
                <a:lnTo>
                  <a:pt x="20066" y="42164"/>
                </a:lnTo>
                <a:lnTo>
                  <a:pt x="34035" y="34925"/>
                </a:lnTo>
                <a:lnTo>
                  <a:pt x="38100" y="29337"/>
                </a:lnTo>
                <a:lnTo>
                  <a:pt x="39497" y="25019"/>
                </a:lnTo>
                <a:lnTo>
                  <a:pt x="39370" y="18034"/>
                </a:lnTo>
                <a:lnTo>
                  <a:pt x="33527" y="6858"/>
                </a:lnTo>
                <a:lnTo>
                  <a:pt x="27940" y="2667"/>
                </a:lnTo>
                <a:lnTo>
                  <a:pt x="19430" y="0"/>
                </a:lnTo>
                <a:close/>
              </a:path>
            </a:pathLst>
          </a:custGeom>
          <a:solidFill>
            <a:srgbClr val="D9D9D9"/>
          </a:solidFill>
        </p:spPr>
        <p:txBody>
          <a:bodyPr wrap="square" lIns="0" tIns="0" rIns="0" bIns="0" rtlCol="0"/>
          <a:lstStyle/>
          <a:p>
            <a:endParaRPr/>
          </a:p>
        </p:txBody>
      </p:sp>
      <p:sp>
        <p:nvSpPr>
          <p:cNvPr id="228" name="object 228"/>
          <p:cNvSpPr/>
          <p:nvPr/>
        </p:nvSpPr>
        <p:spPr>
          <a:xfrm>
            <a:off x="6821424" y="3804031"/>
            <a:ext cx="40005" cy="42545"/>
          </a:xfrm>
          <a:custGeom>
            <a:avLst/>
            <a:gdLst/>
            <a:ahLst/>
            <a:cxnLst/>
            <a:rect l="l" t="t" r="r" b="b"/>
            <a:pathLst>
              <a:path w="40004" h="42545">
                <a:moveTo>
                  <a:pt x="19430" y="0"/>
                </a:moveTo>
                <a:lnTo>
                  <a:pt x="5460" y="7239"/>
                </a:lnTo>
                <a:lnTo>
                  <a:pt x="1397" y="12954"/>
                </a:lnTo>
                <a:lnTo>
                  <a:pt x="0" y="17145"/>
                </a:lnTo>
                <a:lnTo>
                  <a:pt x="253" y="31242"/>
                </a:lnTo>
                <a:lnTo>
                  <a:pt x="5842" y="35433"/>
                </a:lnTo>
                <a:lnTo>
                  <a:pt x="11556" y="39497"/>
                </a:lnTo>
                <a:lnTo>
                  <a:pt x="20066" y="42164"/>
                </a:lnTo>
                <a:lnTo>
                  <a:pt x="34035" y="34925"/>
                </a:lnTo>
                <a:lnTo>
                  <a:pt x="38100" y="29337"/>
                </a:lnTo>
                <a:lnTo>
                  <a:pt x="39497" y="25019"/>
                </a:lnTo>
                <a:lnTo>
                  <a:pt x="39370" y="18034"/>
                </a:lnTo>
                <a:lnTo>
                  <a:pt x="33527" y="6858"/>
                </a:lnTo>
                <a:lnTo>
                  <a:pt x="27940" y="2667"/>
                </a:lnTo>
                <a:lnTo>
                  <a:pt x="19430" y="0"/>
                </a:lnTo>
                <a:close/>
              </a:path>
            </a:pathLst>
          </a:custGeom>
          <a:solidFill>
            <a:srgbClr val="D9D9D9"/>
          </a:solidFill>
        </p:spPr>
        <p:txBody>
          <a:bodyPr wrap="square" lIns="0" tIns="0" rIns="0" bIns="0" rtlCol="0"/>
          <a:lstStyle/>
          <a:p>
            <a:endParaRPr/>
          </a:p>
        </p:txBody>
      </p:sp>
      <p:sp>
        <p:nvSpPr>
          <p:cNvPr id="229" name="object 229"/>
          <p:cNvSpPr/>
          <p:nvPr/>
        </p:nvSpPr>
        <p:spPr>
          <a:xfrm>
            <a:off x="6907783" y="3940556"/>
            <a:ext cx="36830" cy="36830"/>
          </a:xfrm>
          <a:custGeom>
            <a:avLst/>
            <a:gdLst/>
            <a:ahLst/>
            <a:cxnLst/>
            <a:rect l="l" t="t" r="r" b="b"/>
            <a:pathLst>
              <a:path w="36829" h="36829">
                <a:moveTo>
                  <a:pt x="18034" y="0"/>
                </a:moveTo>
                <a:lnTo>
                  <a:pt x="6858" y="5842"/>
                </a:lnTo>
                <a:lnTo>
                  <a:pt x="1270" y="8636"/>
                </a:lnTo>
                <a:lnTo>
                  <a:pt x="1397" y="15748"/>
                </a:lnTo>
                <a:lnTo>
                  <a:pt x="0" y="19939"/>
                </a:lnTo>
                <a:lnTo>
                  <a:pt x="5842" y="31115"/>
                </a:lnTo>
                <a:lnTo>
                  <a:pt x="11557" y="35306"/>
                </a:lnTo>
                <a:lnTo>
                  <a:pt x="15748" y="36576"/>
                </a:lnTo>
                <a:lnTo>
                  <a:pt x="25526" y="35052"/>
                </a:lnTo>
                <a:lnTo>
                  <a:pt x="31115" y="32131"/>
                </a:lnTo>
                <a:lnTo>
                  <a:pt x="35306" y="26416"/>
                </a:lnTo>
                <a:lnTo>
                  <a:pt x="36575" y="22225"/>
                </a:lnTo>
                <a:lnTo>
                  <a:pt x="36575" y="15240"/>
                </a:lnTo>
                <a:lnTo>
                  <a:pt x="33655" y="9652"/>
                </a:lnTo>
                <a:lnTo>
                  <a:pt x="32131" y="6858"/>
                </a:lnTo>
                <a:lnTo>
                  <a:pt x="26543" y="2667"/>
                </a:lnTo>
                <a:lnTo>
                  <a:pt x="18034" y="0"/>
                </a:lnTo>
                <a:close/>
              </a:path>
            </a:pathLst>
          </a:custGeom>
          <a:solidFill>
            <a:srgbClr val="D9D9D9"/>
          </a:solidFill>
        </p:spPr>
        <p:txBody>
          <a:bodyPr wrap="square" lIns="0" tIns="0" rIns="0" bIns="0" rtlCol="0"/>
          <a:lstStyle/>
          <a:p>
            <a:endParaRPr/>
          </a:p>
        </p:txBody>
      </p:sp>
      <p:sp>
        <p:nvSpPr>
          <p:cNvPr id="230" name="object 230"/>
          <p:cNvSpPr/>
          <p:nvPr/>
        </p:nvSpPr>
        <p:spPr>
          <a:xfrm>
            <a:off x="6907783" y="3940556"/>
            <a:ext cx="36830" cy="36830"/>
          </a:xfrm>
          <a:custGeom>
            <a:avLst/>
            <a:gdLst/>
            <a:ahLst/>
            <a:cxnLst/>
            <a:rect l="l" t="t" r="r" b="b"/>
            <a:pathLst>
              <a:path w="36829" h="36829">
                <a:moveTo>
                  <a:pt x="18034" y="0"/>
                </a:moveTo>
                <a:lnTo>
                  <a:pt x="6858" y="5842"/>
                </a:lnTo>
                <a:lnTo>
                  <a:pt x="1270" y="8636"/>
                </a:lnTo>
                <a:lnTo>
                  <a:pt x="1397" y="15748"/>
                </a:lnTo>
                <a:lnTo>
                  <a:pt x="0" y="19939"/>
                </a:lnTo>
                <a:lnTo>
                  <a:pt x="5842" y="31115"/>
                </a:lnTo>
                <a:lnTo>
                  <a:pt x="11557" y="35306"/>
                </a:lnTo>
                <a:lnTo>
                  <a:pt x="15748" y="36576"/>
                </a:lnTo>
                <a:lnTo>
                  <a:pt x="25526" y="35052"/>
                </a:lnTo>
                <a:lnTo>
                  <a:pt x="31115" y="32131"/>
                </a:lnTo>
                <a:lnTo>
                  <a:pt x="35306" y="26416"/>
                </a:lnTo>
                <a:lnTo>
                  <a:pt x="36575" y="22225"/>
                </a:lnTo>
                <a:lnTo>
                  <a:pt x="36575" y="15240"/>
                </a:lnTo>
                <a:lnTo>
                  <a:pt x="33655" y="9652"/>
                </a:lnTo>
                <a:lnTo>
                  <a:pt x="32131" y="6858"/>
                </a:lnTo>
                <a:lnTo>
                  <a:pt x="26543" y="2667"/>
                </a:lnTo>
                <a:lnTo>
                  <a:pt x="18034" y="0"/>
                </a:lnTo>
                <a:close/>
              </a:path>
            </a:pathLst>
          </a:custGeom>
          <a:solidFill>
            <a:srgbClr val="D9D9D9"/>
          </a:solidFill>
        </p:spPr>
        <p:txBody>
          <a:bodyPr wrap="square" lIns="0" tIns="0" rIns="0" bIns="0" rtlCol="0"/>
          <a:lstStyle/>
          <a:p>
            <a:endParaRPr/>
          </a:p>
        </p:txBody>
      </p:sp>
      <p:sp>
        <p:nvSpPr>
          <p:cNvPr id="231" name="object 231"/>
          <p:cNvSpPr/>
          <p:nvPr/>
        </p:nvSpPr>
        <p:spPr>
          <a:xfrm>
            <a:off x="7396099" y="2645665"/>
            <a:ext cx="41275" cy="43815"/>
          </a:xfrm>
          <a:custGeom>
            <a:avLst/>
            <a:gdLst/>
            <a:ahLst/>
            <a:cxnLst/>
            <a:rect l="l" t="t" r="r" b="b"/>
            <a:pathLst>
              <a:path w="41275" h="43814">
                <a:moveTo>
                  <a:pt x="19430" y="0"/>
                </a:moveTo>
                <a:lnTo>
                  <a:pt x="5460" y="7238"/>
                </a:lnTo>
                <a:lnTo>
                  <a:pt x="0" y="17145"/>
                </a:lnTo>
                <a:lnTo>
                  <a:pt x="0" y="24130"/>
                </a:lnTo>
                <a:lnTo>
                  <a:pt x="1650" y="34036"/>
                </a:lnTo>
                <a:lnTo>
                  <a:pt x="12953" y="42290"/>
                </a:lnTo>
                <a:lnTo>
                  <a:pt x="24256" y="43434"/>
                </a:lnTo>
                <a:lnTo>
                  <a:pt x="29845" y="40639"/>
                </a:lnTo>
                <a:lnTo>
                  <a:pt x="38226" y="36195"/>
                </a:lnTo>
                <a:lnTo>
                  <a:pt x="40894" y="27812"/>
                </a:lnTo>
                <a:lnTo>
                  <a:pt x="40640" y="13715"/>
                </a:lnTo>
                <a:lnTo>
                  <a:pt x="33527" y="6858"/>
                </a:lnTo>
                <a:lnTo>
                  <a:pt x="27812" y="2666"/>
                </a:lnTo>
                <a:lnTo>
                  <a:pt x="19430" y="0"/>
                </a:lnTo>
                <a:close/>
              </a:path>
            </a:pathLst>
          </a:custGeom>
          <a:solidFill>
            <a:srgbClr val="D9D9D9"/>
          </a:solidFill>
        </p:spPr>
        <p:txBody>
          <a:bodyPr wrap="square" lIns="0" tIns="0" rIns="0" bIns="0" rtlCol="0"/>
          <a:lstStyle/>
          <a:p>
            <a:endParaRPr/>
          </a:p>
        </p:txBody>
      </p:sp>
      <p:sp>
        <p:nvSpPr>
          <p:cNvPr id="232" name="object 232"/>
          <p:cNvSpPr/>
          <p:nvPr/>
        </p:nvSpPr>
        <p:spPr>
          <a:xfrm>
            <a:off x="7396099" y="2645665"/>
            <a:ext cx="41275" cy="43815"/>
          </a:xfrm>
          <a:custGeom>
            <a:avLst/>
            <a:gdLst/>
            <a:ahLst/>
            <a:cxnLst/>
            <a:rect l="l" t="t" r="r" b="b"/>
            <a:pathLst>
              <a:path w="41275" h="43814">
                <a:moveTo>
                  <a:pt x="19430" y="0"/>
                </a:moveTo>
                <a:lnTo>
                  <a:pt x="5460" y="7238"/>
                </a:lnTo>
                <a:lnTo>
                  <a:pt x="0" y="17145"/>
                </a:lnTo>
                <a:lnTo>
                  <a:pt x="0" y="24130"/>
                </a:lnTo>
                <a:lnTo>
                  <a:pt x="1650" y="34036"/>
                </a:lnTo>
                <a:lnTo>
                  <a:pt x="12953" y="42290"/>
                </a:lnTo>
                <a:lnTo>
                  <a:pt x="24256" y="43434"/>
                </a:lnTo>
                <a:lnTo>
                  <a:pt x="29845" y="40639"/>
                </a:lnTo>
                <a:lnTo>
                  <a:pt x="38226" y="36195"/>
                </a:lnTo>
                <a:lnTo>
                  <a:pt x="40894" y="27812"/>
                </a:lnTo>
                <a:lnTo>
                  <a:pt x="40640" y="13715"/>
                </a:lnTo>
                <a:lnTo>
                  <a:pt x="33527" y="6858"/>
                </a:lnTo>
                <a:lnTo>
                  <a:pt x="27812" y="2666"/>
                </a:lnTo>
                <a:lnTo>
                  <a:pt x="19430" y="0"/>
                </a:lnTo>
                <a:close/>
              </a:path>
            </a:pathLst>
          </a:custGeom>
          <a:solidFill>
            <a:srgbClr val="D9D9D9"/>
          </a:solidFill>
        </p:spPr>
        <p:txBody>
          <a:bodyPr wrap="square" lIns="0" tIns="0" rIns="0" bIns="0" rtlCol="0"/>
          <a:lstStyle/>
          <a:p>
            <a:endParaRPr/>
          </a:p>
        </p:txBody>
      </p:sp>
      <p:sp>
        <p:nvSpPr>
          <p:cNvPr id="233" name="object 233"/>
          <p:cNvSpPr/>
          <p:nvPr/>
        </p:nvSpPr>
        <p:spPr>
          <a:xfrm>
            <a:off x="7529195" y="2619630"/>
            <a:ext cx="38100" cy="38735"/>
          </a:xfrm>
          <a:custGeom>
            <a:avLst/>
            <a:gdLst/>
            <a:ahLst/>
            <a:cxnLst/>
            <a:rect l="l" t="t" r="r" b="b"/>
            <a:pathLst>
              <a:path w="38100" h="38735">
                <a:moveTo>
                  <a:pt x="25019" y="0"/>
                </a:moveTo>
                <a:lnTo>
                  <a:pt x="18033" y="126"/>
                </a:lnTo>
                <a:lnTo>
                  <a:pt x="4063" y="7366"/>
                </a:lnTo>
                <a:lnTo>
                  <a:pt x="0" y="13081"/>
                </a:lnTo>
                <a:lnTo>
                  <a:pt x="0" y="20066"/>
                </a:lnTo>
                <a:lnTo>
                  <a:pt x="1650" y="29972"/>
                </a:lnTo>
                <a:lnTo>
                  <a:pt x="12953" y="38226"/>
                </a:lnTo>
                <a:lnTo>
                  <a:pt x="19938" y="38100"/>
                </a:lnTo>
                <a:lnTo>
                  <a:pt x="29845" y="36575"/>
                </a:lnTo>
                <a:lnTo>
                  <a:pt x="33908" y="30861"/>
                </a:lnTo>
                <a:lnTo>
                  <a:pt x="38100" y="25146"/>
                </a:lnTo>
                <a:lnTo>
                  <a:pt x="37846" y="11175"/>
                </a:lnTo>
                <a:lnTo>
                  <a:pt x="30733" y="4191"/>
                </a:lnTo>
                <a:lnTo>
                  <a:pt x="25019" y="0"/>
                </a:lnTo>
                <a:close/>
              </a:path>
            </a:pathLst>
          </a:custGeom>
          <a:solidFill>
            <a:srgbClr val="D9D9D9"/>
          </a:solidFill>
        </p:spPr>
        <p:txBody>
          <a:bodyPr wrap="square" lIns="0" tIns="0" rIns="0" bIns="0" rtlCol="0"/>
          <a:lstStyle/>
          <a:p>
            <a:endParaRPr/>
          </a:p>
        </p:txBody>
      </p:sp>
      <p:sp>
        <p:nvSpPr>
          <p:cNvPr id="234" name="object 234"/>
          <p:cNvSpPr/>
          <p:nvPr/>
        </p:nvSpPr>
        <p:spPr>
          <a:xfrm>
            <a:off x="7529195" y="2619630"/>
            <a:ext cx="38100" cy="38735"/>
          </a:xfrm>
          <a:custGeom>
            <a:avLst/>
            <a:gdLst/>
            <a:ahLst/>
            <a:cxnLst/>
            <a:rect l="l" t="t" r="r" b="b"/>
            <a:pathLst>
              <a:path w="38100" h="38735">
                <a:moveTo>
                  <a:pt x="25019" y="0"/>
                </a:moveTo>
                <a:lnTo>
                  <a:pt x="18033" y="126"/>
                </a:lnTo>
                <a:lnTo>
                  <a:pt x="4063" y="7366"/>
                </a:lnTo>
                <a:lnTo>
                  <a:pt x="0" y="13081"/>
                </a:lnTo>
                <a:lnTo>
                  <a:pt x="0" y="20066"/>
                </a:lnTo>
                <a:lnTo>
                  <a:pt x="1650" y="29972"/>
                </a:lnTo>
                <a:lnTo>
                  <a:pt x="12953" y="38226"/>
                </a:lnTo>
                <a:lnTo>
                  <a:pt x="19938" y="38100"/>
                </a:lnTo>
                <a:lnTo>
                  <a:pt x="29845" y="36575"/>
                </a:lnTo>
                <a:lnTo>
                  <a:pt x="33908" y="30861"/>
                </a:lnTo>
                <a:lnTo>
                  <a:pt x="38100" y="25146"/>
                </a:lnTo>
                <a:lnTo>
                  <a:pt x="37846" y="11175"/>
                </a:lnTo>
                <a:lnTo>
                  <a:pt x="30733" y="4191"/>
                </a:lnTo>
                <a:lnTo>
                  <a:pt x="25019" y="0"/>
                </a:lnTo>
                <a:close/>
              </a:path>
            </a:pathLst>
          </a:custGeom>
          <a:solidFill>
            <a:srgbClr val="D9D9D9"/>
          </a:solidFill>
        </p:spPr>
        <p:txBody>
          <a:bodyPr wrap="square" lIns="0" tIns="0" rIns="0" bIns="0" rtlCol="0"/>
          <a:lstStyle/>
          <a:p>
            <a:endParaRPr/>
          </a:p>
        </p:txBody>
      </p:sp>
      <p:sp>
        <p:nvSpPr>
          <p:cNvPr id="235" name="object 235"/>
          <p:cNvSpPr/>
          <p:nvPr/>
        </p:nvSpPr>
        <p:spPr>
          <a:xfrm>
            <a:off x="7665593" y="2616326"/>
            <a:ext cx="36830" cy="35560"/>
          </a:xfrm>
          <a:custGeom>
            <a:avLst/>
            <a:gdLst/>
            <a:ahLst/>
            <a:cxnLst/>
            <a:rect l="l" t="t" r="r" b="b"/>
            <a:pathLst>
              <a:path w="36829" h="35560">
                <a:moveTo>
                  <a:pt x="17906" y="0"/>
                </a:moveTo>
                <a:lnTo>
                  <a:pt x="8127" y="1524"/>
                </a:lnTo>
                <a:lnTo>
                  <a:pt x="3936" y="7238"/>
                </a:lnTo>
                <a:lnTo>
                  <a:pt x="2666" y="11557"/>
                </a:lnTo>
                <a:lnTo>
                  <a:pt x="0" y="19938"/>
                </a:lnTo>
                <a:lnTo>
                  <a:pt x="2793" y="25526"/>
                </a:lnTo>
                <a:lnTo>
                  <a:pt x="5714" y="31114"/>
                </a:lnTo>
                <a:lnTo>
                  <a:pt x="14224" y="33782"/>
                </a:lnTo>
                <a:lnTo>
                  <a:pt x="18414" y="35178"/>
                </a:lnTo>
                <a:lnTo>
                  <a:pt x="32384" y="27939"/>
                </a:lnTo>
                <a:lnTo>
                  <a:pt x="33781" y="23749"/>
                </a:lnTo>
                <a:lnTo>
                  <a:pt x="36449" y="15239"/>
                </a:lnTo>
                <a:lnTo>
                  <a:pt x="30606" y="4063"/>
                </a:lnTo>
                <a:lnTo>
                  <a:pt x="17906" y="0"/>
                </a:lnTo>
                <a:close/>
              </a:path>
            </a:pathLst>
          </a:custGeom>
          <a:solidFill>
            <a:srgbClr val="D9D9D9"/>
          </a:solidFill>
        </p:spPr>
        <p:txBody>
          <a:bodyPr wrap="square" lIns="0" tIns="0" rIns="0" bIns="0" rtlCol="0"/>
          <a:lstStyle/>
          <a:p>
            <a:endParaRPr/>
          </a:p>
        </p:txBody>
      </p:sp>
      <p:sp>
        <p:nvSpPr>
          <p:cNvPr id="236" name="object 236"/>
          <p:cNvSpPr/>
          <p:nvPr/>
        </p:nvSpPr>
        <p:spPr>
          <a:xfrm>
            <a:off x="7665593" y="2616326"/>
            <a:ext cx="36830" cy="35560"/>
          </a:xfrm>
          <a:custGeom>
            <a:avLst/>
            <a:gdLst/>
            <a:ahLst/>
            <a:cxnLst/>
            <a:rect l="l" t="t" r="r" b="b"/>
            <a:pathLst>
              <a:path w="36829" h="35560">
                <a:moveTo>
                  <a:pt x="17906" y="0"/>
                </a:moveTo>
                <a:lnTo>
                  <a:pt x="8127" y="1524"/>
                </a:lnTo>
                <a:lnTo>
                  <a:pt x="3936" y="7238"/>
                </a:lnTo>
                <a:lnTo>
                  <a:pt x="2666" y="11557"/>
                </a:lnTo>
                <a:lnTo>
                  <a:pt x="0" y="19938"/>
                </a:lnTo>
                <a:lnTo>
                  <a:pt x="2793" y="25526"/>
                </a:lnTo>
                <a:lnTo>
                  <a:pt x="5714" y="31114"/>
                </a:lnTo>
                <a:lnTo>
                  <a:pt x="14224" y="33782"/>
                </a:lnTo>
                <a:lnTo>
                  <a:pt x="18414" y="35178"/>
                </a:lnTo>
                <a:lnTo>
                  <a:pt x="32384" y="27939"/>
                </a:lnTo>
                <a:lnTo>
                  <a:pt x="33781" y="23749"/>
                </a:lnTo>
                <a:lnTo>
                  <a:pt x="36449" y="15239"/>
                </a:lnTo>
                <a:lnTo>
                  <a:pt x="30606" y="4063"/>
                </a:lnTo>
                <a:lnTo>
                  <a:pt x="17906" y="0"/>
                </a:lnTo>
                <a:close/>
              </a:path>
            </a:pathLst>
          </a:custGeom>
          <a:solidFill>
            <a:srgbClr val="D9D9D9"/>
          </a:solidFill>
        </p:spPr>
        <p:txBody>
          <a:bodyPr wrap="square" lIns="0" tIns="0" rIns="0" bIns="0" rtlCol="0"/>
          <a:lstStyle/>
          <a:p>
            <a:endParaRPr/>
          </a:p>
        </p:txBody>
      </p:sp>
      <p:sp>
        <p:nvSpPr>
          <p:cNvPr id="237" name="object 237"/>
          <p:cNvSpPr/>
          <p:nvPr/>
        </p:nvSpPr>
        <p:spPr>
          <a:xfrm>
            <a:off x="7802120" y="2636774"/>
            <a:ext cx="31115" cy="29845"/>
          </a:xfrm>
          <a:custGeom>
            <a:avLst/>
            <a:gdLst/>
            <a:ahLst/>
            <a:cxnLst/>
            <a:rect l="l" t="t" r="r" b="b"/>
            <a:pathLst>
              <a:path w="31115" h="29844">
                <a:moveTo>
                  <a:pt x="19430" y="0"/>
                </a:moveTo>
                <a:lnTo>
                  <a:pt x="12446" y="126"/>
                </a:lnTo>
                <a:lnTo>
                  <a:pt x="9651" y="1524"/>
                </a:lnTo>
                <a:lnTo>
                  <a:pt x="4063" y="4445"/>
                </a:lnTo>
                <a:lnTo>
                  <a:pt x="0" y="10160"/>
                </a:lnTo>
                <a:lnTo>
                  <a:pt x="0" y="17145"/>
                </a:lnTo>
                <a:lnTo>
                  <a:pt x="1524" y="19938"/>
                </a:lnTo>
                <a:lnTo>
                  <a:pt x="4445" y="25526"/>
                </a:lnTo>
                <a:lnTo>
                  <a:pt x="10032" y="29717"/>
                </a:lnTo>
                <a:lnTo>
                  <a:pt x="17145" y="29590"/>
                </a:lnTo>
                <a:lnTo>
                  <a:pt x="22732" y="26670"/>
                </a:lnTo>
                <a:lnTo>
                  <a:pt x="25526" y="25273"/>
                </a:lnTo>
                <a:lnTo>
                  <a:pt x="29590" y="19558"/>
                </a:lnTo>
                <a:lnTo>
                  <a:pt x="29463" y="12573"/>
                </a:lnTo>
                <a:lnTo>
                  <a:pt x="30860" y="8254"/>
                </a:lnTo>
                <a:lnTo>
                  <a:pt x="25146" y="4190"/>
                </a:lnTo>
                <a:lnTo>
                  <a:pt x="19430" y="0"/>
                </a:lnTo>
                <a:close/>
              </a:path>
            </a:pathLst>
          </a:custGeom>
          <a:solidFill>
            <a:srgbClr val="D9D9D9"/>
          </a:solidFill>
        </p:spPr>
        <p:txBody>
          <a:bodyPr wrap="square" lIns="0" tIns="0" rIns="0" bIns="0" rtlCol="0"/>
          <a:lstStyle/>
          <a:p>
            <a:endParaRPr/>
          </a:p>
        </p:txBody>
      </p:sp>
      <p:sp>
        <p:nvSpPr>
          <p:cNvPr id="238" name="object 238"/>
          <p:cNvSpPr/>
          <p:nvPr/>
        </p:nvSpPr>
        <p:spPr>
          <a:xfrm>
            <a:off x="7802120" y="2636774"/>
            <a:ext cx="31115" cy="29845"/>
          </a:xfrm>
          <a:custGeom>
            <a:avLst/>
            <a:gdLst/>
            <a:ahLst/>
            <a:cxnLst/>
            <a:rect l="l" t="t" r="r" b="b"/>
            <a:pathLst>
              <a:path w="31115" h="29844">
                <a:moveTo>
                  <a:pt x="19430" y="0"/>
                </a:moveTo>
                <a:lnTo>
                  <a:pt x="12446" y="126"/>
                </a:lnTo>
                <a:lnTo>
                  <a:pt x="9651" y="1524"/>
                </a:lnTo>
                <a:lnTo>
                  <a:pt x="4063" y="4445"/>
                </a:lnTo>
                <a:lnTo>
                  <a:pt x="0" y="10160"/>
                </a:lnTo>
                <a:lnTo>
                  <a:pt x="0" y="17145"/>
                </a:lnTo>
                <a:lnTo>
                  <a:pt x="1524" y="19938"/>
                </a:lnTo>
                <a:lnTo>
                  <a:pt x="4445" y="25526"/>
                </a:lnTo>
                <a:lnTo>
                  <a:pt x="10032" y="29717"/>
                </a:lnTo>
                <a:lnTo>
                  <a:pt x="17145" y="29590"/>
                </a:lnTo>
                <a:lnTo>
                  <a:pt x="22732" y="26670"/>
                </a:lnTo>
                <a:lnTo>
                  <a:pt x="25526" y="25273"/>
                </a:lnTo>
                <a:lnTo>
                  <a:pt x="29590" y="19558"/>
                </a:lnTo>
                <a:lnTo>
                  <a:pt x="29463" y="12573"/>
                </a:lnTo>
                <a:lnTo>
                  <a:pt x="30860" y="8254"/>
                </a:lnTo>
                <a:lnTo>
                  <a:pt x="25146" y="4190"/>
                </a:lnTo>
                <a:lnTo>
                  <a:pt x="19430" y="0"/>
                </a:lnTo>
                <a:close/>
              </a:path>
            </a:pathLst>
          </a:custGeom>
          <a:solidFill>
            <a:srgbClr val="D9D9D9"/>
          </a:solidFill>
        </p:spPr>
        <p:txBody>
          <a:bodyPr wrap="square" lIns="0" tIns="0" rIns="0" bIns="0" rtlCol="0"/>
          <a:lstStyle/>
          <a:p>
            <a:endParaRPr/>
          </a:p>
        </p:txBody>
      </p:sp>
      <p:sp>
        <p:nvSpPr>
          <p:cNvPr id="239" name="object 239"/>
          <p:cNvSpPr/>
          <p:nvPr/>
        </p:nvSpPr>
        <p:spPr>
          <a:xfrm>
            <a:off x="7932040" y="2678558"/>
            <a:ext cx="27304" cy="28575"/>
          </a:xfrm>
          <a:custGeom>
            <a:avLst/>
            <a:gdLst/>
            <a:ahLst/>
            <a:cxnLst/>
            <a:rect l="l" t="t" r="r" b="b"/>
            <a:pathLst>
              <a:path w="27304" h="28575">
                <a:moveTo>
                  <a:pt x="13842" y="0"/>
                </a:moveTo>
                <a:lnTo>
                  <a:pt x="6857" y="126"/>
                </a:lnTo>
                <a:lnTo>
                  <a:pt x="2666" y="5714"/>
                </a:lnTo>
                <a:lnTo>
                  <a:pt x="1396" y="10032"/>
                </a:lnTo>
                <a:lnTo>
                  <a:pt x="0" y="14223"/>
                </a:lnTo>
                <a:lnTo>
                  <a:pt x="126" y="21208"/>
                </a:lnTo>
                <a:lnTo>
                  <a:pt x="4317" y="22605"/>
                </a:lnTo>
                <a:lnTo>
                  <a:pt x="10032" y="26796"/>
                </a:lnTo>
                <a:lnTo>
                  <a:pt x="14350" y="28066"/>
                </a:lnTo>
                <a:lnTo>
                  <a:pt x="19938" y="25145"/>
                </a:lnTo>
                <a:lnTo>
                  <a:pt x="25400" y="22351"/>
                </a:lnTo>
                <a:lnTo>
                  <a:pt x="26796" y="18033"/>
                </a:lnTo>
                <a:lnTo>
                  <a:pt x="26669" y="11048"/>
                </a:lnTo>
                <a:lnTo>
                  <a:pt x="25272" y="8254"/>
                </a:lnTo>
                <a:lnTo>
                  <a:pt x="22351" y="2666"/>
                </a:lnTo>
                <a:lnTo>
                  <a:pt x="18160" y="1269"/>
                </a:lnTo>
                <a:lnTo>
                  <a:pt x="13842" y="0"/>
                </a:lnTo>
                <a:close/>
              </a:path>
            </a:pathLst>
          </a:custGeom>
          <a:solidFill>
            <a:srgbClr val="D9D9D9"/>
          </a:solidFill>
        </p:spPr>
        <p:txBody>
          <a:bodyPr wrap="square" lIns="0" tIns="0" rIns="0" bIns="0" rtlCol="0"/>
          <a:lstStyle/>
          <a:p>
            <a:endParaRPr/>
          </a:p>
        </p:txBody>
      </p:sp>
      <p:sp>
        <p:nvSpPr>
          <p:cNvPr id="240" name="object 240"/>
          <p:cNvSpPr/>
          <p:nvPr/>
        </p:nvSpPr>
        <p:spPr>
          <a:xfrm>
            <a:off x="7932040" y="2678558"/>
            <a:ext cx="27304" cy="28575"/>
          </a:xfrm>
          <a:custGeom>
            <a:avLst/>
            <a:gdLst/>
            <a:ahLst/>
            <a:cxnLst/>
            <a:rect l="l" t="t" r="r" b="b"/>
            <a:pathLst>
              <a:path w="27304" h="28575">
                <a:moveTo>
                  <a:pt x="13842" y="0"/>
                </a:moveTo>
                <a:lnTo>
                  <a:pt x="6857" y="126"/>
                </a:lnTo>
                <a:lnTo>
                  <a:pt x="2666" y="5714"/>
                </a:lnTo>
                <a:lnTo>
                  <a:pt x="1396" y="10032"/>
                </a:lnTo>
                <a:lnTo>
                  <a:pt x="0" y="14223"/>
                </a:lnTo>
                <a:lnTo>
                  <a:pt x="126" y="21208"/>
                </a:lnTo>
                <a:lnTo>
                  <a:pt x="4317" y="22605"/>
                </a:lnTo>
                <a:lnTo>
                  <a:pt x="10032" y="26796"/>
                </a:lnTo>
                <a:lnTo>
                  <a:pt x="14350" y="28066"/>
                </a:lnTo>
                <a:lnTo>
                  <a:pt x="19938" y="25145"/>
                </a:lnTo>
                <a:lnTo>
                  <a:pt x="25400" y="22351"/>
                </a:lnTo>
                <a:lnTo>
                  <a:pt x="26796" y="18033"/>
                </a:lnTo>
                <a:lnTo>
                  <a:pt x="26669" y="11048"/>
                </a:lnTo>
                <a:lnTo>
                  <a:pt x="25272" y="8254"/>
                </a:lnTo>
                <a:lnTo>
                  <a:pt x="22351" y="2666"/>
                </a:lnTo>
                <a:lnTo>
                  <a:pt x="18160" y="1269"/>
                </a:lnTo>
                <a:lnTo>
                  <a:pt x="13842" y="0"/>
                </a:lnTo>
                <a:close/>
              </a:path>
            </a:pathLst>
          </a:custGeom>
          <a:solidFill>
            <a:srgbClr val="D9D9D9"/>
          </a:solidFill>
        </p:spPr>
        <p:txBody>
          <a:bodyPr wrap="square" lIns="0" tIns="0" rIns="0" bIns="0" rtlCol="0"/>
          <a:lstStyle/>
          <a:p>
            <a:endParaRPr/>
          </a:p>
        </p:txBody>
      </p:sp>
      <p:sp>
        <p:nvSpPr>
          <p:cNvPr id="241" name="object 241"/>
          <p:cNvSpPr/>
          <p:nvPr/>
        </p:nvSpPr>
        <p:spPr>
          <a:xfrm>
            <a:off x="7334758" y="4105783"/>
            <a:ext cx="31115" cy="31115"/>
          </a:xfrm>
          <a:custGeom>
            <a:avLst/>
            <a:gdLst/>
            <a:ahLst/>
            <a:cxnLst/>
            <a:rect l="l" t="t" r="r" b="b"/>
            <a:pathLst>
              <a:path w="31115" h="31114">
                <a:moveTo>
                  <a:pt x="16637" y="0"/>
                </a:moveTo>
                <a:lnTo>
                  <a:pt x="9651" y="127"/>
                </a:lnTo>
                <a:lnTo>
                  <a:pt x="5461" y="5715"/>
                </a:lnTo>
                <a:lnTo>
                  <a:pt x="1397" y="11430"/>
                </a:lnTo>
                <a:lnTo>
                  <a:pt x="0" y="15621"/>
                </a:lnTo>
                <a:lnTo>
                  <a:pt x="5842" y="26797"/>
                </a:lnTo>
                <a:lnTo>
                  <a:pt x="11430" y="30988"/>
                </a:lnTo>
                <a:lnTo>
                  <a:pt x="18542" y="30861"/>
                </a:lnTo>
                <a:lnTo>
                  <a:pt x="29718" y="25019"/>
                </a:lnTo>
                <a:lnTo>
                  <a:pt x="30988" y="20828"/>
                </a:lnTo>
                <a:lnTo>
                  <a:pt x="30734" y="6731"/>
                </a:lnTo>
                <a:lnTo>
                  <a:pt x="25146" y="2667"/>
                </a:lnTo>
                <a:lnTo>
                  <a:pt x="20827" y="1270"/>
                </a:lnTo>
                <a:lnTo>
                  <a:pt x="16637" y="0"/>
                </a:lnTo>
                <a:close/>
              </a:path>
            </a:pathLst>
          </a:custGeom>
          <a:solidFill>
            <a:srgbClr val="D9D9D9"/>
          </a:solidFill>
        </p:spPr>
        <p:txBody>
          <a:bodyPr wrap="square" lIns="0" tIns="0" rIns="0" bIns="0" rtlCol="0"/>
          <a:lstStyle/>
          <a:p>
            <a:endParaRPr/>
          </a:p>
        </p:txBody>
      </p:sp>
      <p:sp>
        <p:nvSpPr>
          <p:cNvPr id="242" name="object 242"/>
          <p:cNvSpPr/>
          <p:nvPr/>
        </p:nvSpPr>
        <p:spPr>
          <a:xfrm>
            <a:off x="7334758" y="4105783"/>
            <a:ext cx="31115" cy="31115"/>
          </a:xfrm>
          <a:custGeom>
            <a:avLst/>
            <a:gdLst/>
            <a:ahLst/>
            <a:cxnLst/>
            <a:rect l="l" t="t" r="r" b="b"/>
            <a:pathLst>
              <a:path w="31115" h="31114">
                <a:moveTo>
                  <a:pt x="16637" y="0"/>
                </a:moveTo>
                <a:lnTo>
                  <a:pt x="9651" y="127"/>
                </a:lnTo>
                <a:lnTo>
                  <a:pt x="5461" y="5715"/>
                </a:lnTo>
                <a:lnTo>
                  <a:pt x="1397" y="11430"/>
                </a:lnTo>
                <a:lnTo>
                  <a:pt x="0" y="15621"/>
                </a:lnTo>
                <a:lnTo>
                  <a:pt x="5842" y="26797"/>
                </a:lnTo>
                <a:lnTo>
                  <a:pt x="11430" y="30988"/>
                </a:lnTo>
                <a:lnTo>
                  <a:pt x="18542" y="30861"/>
                </a:lnTo>
                <a:lnTo>
                  <a:pt x="29718" y="25019"/>
                </a:lnTo>
                <a:lnTo>
                  <a:pt x="30988" y="20828"/>
                </a:lnTo>
                <a:lnTo>
                  <a:pt x="30734" y="6731"/>
                </a:lnTo>
                <a:lnTo>
                  <a:pt x="25146" y="2667"/>
                </a:lnTo>
                <a:lnTo>
                  <a:pt x="20827" y="1270"/>
                </a:lnTo>
                <a:lnTo>
                  <a:pt x="16637" y="0"/>
                </a:lnTo>
                <a:close/>
              </a:path>
            </a:pathLst>
          </a:custGeom>
          <a:solidFill>
            <a:srgbClr val="D9D9D9"/>
          </a:solidFill>
        </p:spPr>
        <p:txBody>
          <a:bodyPr wrap="square" lIns="0" tIns="0" rIns="0" bIns="0" rtlCol="0"/>
          <a:lstStyle/>
          <a:p>
            <a:endParaRPr/>
          </a:p>
        </p:txBody>
      </p:sp>
      <p:sp>
        <p:nvSpPr>
          <p:cNvPr id="243" name="object 243"/>
          <p:cNvSpPr/>
          <p:nvPr/>
        </p:nvSpPr>
        <p:spPr>
          <a:xfrm>
            <a:off x="7465949" y="4146042"/>
            <a:ext cx="28575" cy="29845"/>
          </a:xfrm>
          <a:custGeom>
            <a:avLst/>
            <a:gdLst/>
            <a:ahLst/>
            <a:cxnLst/>
            <a:rect l="l" t="t" r="r" b="b"/>
            <a:pathLst>
              <a:path w="28575" h="29845">
                <a:moveTo>
                  <a:pt x="12573" y="0"/>
                </a:moveTo>
                <a:lnTo>
                  <a:pt x="6984" y="2920"/>
                </a:lnTo>
                <a:lnTo>
                  <a:pt x="4191" y="4317"/>
                </a:lnTo>
                <a:lnTo>
                  <a:pt x="0" y="10032"/>
                </a:lnTo>
                <a:lnTo>
                  <a:pt x="126" y="17017"/>
                </a:lnTo>
                <a:lnTo>
                  <a:pt x="3048" y="22605"/>
                </a:lnTo>
                <a:lnTo>
                  <a:pt x="4445" y="25399"/>
                </a:lnTo>
                <a:lnTo>
                  <a:pt x="10159" y="29590"/>
                </a:lnTo>
                <a:lnTo>
                  <a:pt x="17272" y="29463"/>
                </a:lnTo>
                <a:lnTo>
                  <a:pt x="19939" y="27939"/>
                </a:lnTo>
                <a:lnTo>
                  <a:pt x="25526" y="25145"/>
                </a:lnTo>
                <a:lnTo>
                  <a:pt x="26924" y="20827"/>
                </a:lnTo>
                <a:lnTo>
                  <a:pt x="26797" y="13842"/>
                </a:lnTo>
                <a:lnTo>
                  <a:pt x="28194" y="9651"/>
                </a:lnTo>
                <a:lnTo>
                  <a:pt x="22478" y="5460"/>
                </a:lnTo>
                <a:lnTo>
                  <a:pt x="16764" y="1396"/>
                </a:lnTo>
                <a:lnTo>
                  <a:pt x="12573" y="0"/>
                </a:lnTo>
                <a:close/>
              </a:path>
            </a:pathLst>
          </a:custGeom>
          <a:solidFill>
            <a:srgbClr val="D9D9D9"/>
          </a:solidFill>
        </p:spPr>
        <p:txBody>
          <a:bodyPr wrap="square" lIns="0" tIns="0" rIns="0" bIns="0" rtlCol="0"/>
          <a:lstStyle/>
          <a:p>
            <a:endParaRPr/>
          </a:p>
        </p:txBody>
      </p:sp>
      <p:sp>
        <p:nvSpPr>
          <p:cNvPr id="244" name="object 244"/>
          <p:cNvSpPr/>
          <p:nvPr/>
        </p:nvSpPr>
        <p:spPr>
          <a:xfrm>
            <a:off x="7465949" y="4146042"/>
            <a:ext cx="28575" cy="29845"/>
          </a:xfrm>
          <a:custGeom>
            <a:avLst/>
            <a:gdLst/>
            <a:ahLst/>
            <a:cxnLst/>
            <a:rect l="l" t="t" r="r" b="b"/>
            <a:pathLst>
              <a:path w="28575" h="29845">
                <a:moveTo>
                  <a:pt x="12573" y="0"/>
                </a:moveTo>
                <a:lnTo>
                  <a:pt x="6984" y="2920"/>
                </a:lnTo>
                <a:lnTo>
                  <a:pt x="4191" y="4317"/>
                </a:lnTo>
                <a:lnTo>
                  <a:pt x="0" y="10032"/>
                </a:lnTo>
                <a:lnTo>
                  <a:pt x="126" y="17017"/>
                </a:lnTo>
                <a:lnTo>
                  <a:pt x="3048" y="22605"/>
                </a:lnTo>
                <a:lnTo>
                  <a:pt x="4445" y="25399"/>
                </a:lnTo>
                <a:lnTo>
                  <a:pt x="10159" y="29590"/>
                </a:lnTo>
                <a:lnTo>
                  <a:pt x="17272" y="29463"/>
                </a:lnTo>
                <a:lnTo>
                  <a:pt x="19939" y="27939"/>
                </a:lnTo>
                <a:lnTo>
                  <a:pt x="25526" y="25145"/>
                </a:lnTo>
                <a:lnTo>
                  <a:pt x="26924" y="20827"/>
                </a:lnTo>
                <a:lnTo>
                  <a:pt x="26797" y="13842"/>
                </a:lnTo>
                <a:lnTo>
                  <a:pt x="28194" y="9651"/>
                </a:lnTo>
                <a:lnTo>
                  <a:pt x="22478" y="5460"/>
                </a:lnTo>
                <a:lnTo>
                  <a:pt x="16764" y="1396"/>
                </a:lnTo>
                <a:lnTo>
                  <a:pt x="12573" y="0"/>
                </a:lnTo>
                <a:close/>
              </a:path>
            </a:pathLst>
          </a:custGeom>
          <a:solidFill>
            <a:srgbClr val="D9D9D9"/>
          </a:solidFill>
        </p:spPr>
        <p:txBody>
          <a:bodyPr wrap="square" lIns="0" tIns="0" rIns="0" bIns="0" rtlCol="0"/>
          <a:lstStyle/>
          <a:p>
            <a:endParaRPr/>
          </a:p>
        </p:txBody>
      </p:sp>
      <p:sp>
        <p:nvSpPr>
          <p:cNvPr id="245" name="object 245"/>
          <p:cNvSpPr/>
          <p:nvPr/>
        </p:nvSpPr>
        <p:spPr>
          <a:xfrm>
            <a:off x="7437120" y="2765933"/>
            <a:ext cx="28575" cy="27305"/>
          </a:xfrm>
          <a:custGeom>
            <a:avLst/>
            <a:gdLst/>
            <a:ahLst/>
            <a:cxnLst/>
            <a:rect l="l" t="t" r="r" b="b"/>
            <a:pathLst>
              <a:path w="28575" h="27305">
                <a:moveTo>
                  <a:pt x="19557" y="0"/>
                </a:moveTo>
                <a:lnTo>
                  <a:pt x="12446" y="126"/>
                </a:lnTo>
                <a:lnTo>
                  <a:pt x="6857" y="3047"/>
                </a:lnTo>
                <a:lnTo>
                  <a:pt x="4063" y="4444"/>
                </a:lnTo>
                <a:lnTo>
                  <a:pt x="0" y="10159"/>
                </a:lnTo>
                <a:lnTo>
                  <a:pt x="2921" y="15747"/>
                </a:lnTo>
                <a:lnTo>
                  <a:pt x="4318" y="18541"/>
                </a:lnTo>
                <a:lnTo>
                  <a:pt x="8635" y="26924"/>
                </a:lnTo>
                <a:lnTo>
                  <a:pt x="18414" y="25272"/>
                </a:lnTo>
                <a:lnTo>
                  <a:pt x="21208" y="23875"/>
                </a:lnTo>
                <a:lnTo>
                  <a:pt x="26797" y="20954"/>
                </a:lnTo>
                <a:lnTo>
                  <a:pt x="28194" y="16763"/>
                </a:lnTo>
                <a:lnTo>
                  <a:pt x="28066" y="9651"/>
                </a:lnTo>
                <a:lnTo>
                  <a:pt x="26670" y="6857"/>
                </a:lnTo>
                <a:lnTo>
                  <a:pt x="19557" y="0"/>
                </a:lnTo>
                <a:close/>
              </a:path>
            </a:pathLst>
          </a:custGeom>
          <a:solidFill>
            <a:srgbClr val="D9D9D9"/>
          </a:solidFill>
        </p:spPr>
        <p:txBody>
          <a:bodyPr wrap="square" lIns="0" tIns="0" rIns="0" bIns="0" rtlCol="0"/>
          <a:lstStyle/>
          <a:p>
            <a:endParaRPr/>
          </a:p>
        </p:txBody>
      </p:sp>
      <p:sp>
        <p:nvSpPr>
          <p:cNvPr id="246" name="object 246"/>
          <p:cNvSpPr/>
          <p:nvPr/>
        </p:nvSpPr>
        <p:spPr>
          <a:xfrm>
            <a:off x="7437120" y="2765933"/>
            <a:ext cx="28575" cy="27305"/>
          </a:xfrm>
          <a:custGeom>
            <a:avLst/>
            <a:gdLst/>
            <a:ahLst/>
            <a:cxnLst/>
            <a:rect l="l" t="t" r="r" b="b"/>
            <a:pathLst>
              <a:path w="28575" h="27305">
                <a:moveTo>
                  <a:pt x="19557" y="0"/>
                </a:moveTo>
                <a:lnTo>
                  <a:pt x="12446" y="126"/>
                </a:lnTo>
                <a:lnTo>
                  <a:pt x="6857" y="3047"/>
                </a:lnTo>
                <a:lnTo>
                  <a:pt x="4063" y="4444"/>
                </a:lnTo>
                <a:lnTo>
                  <a:pt x="0" y="10159"/>
                </a:lnTo>
                <a:lnTo>
                  <a:pt x="2921" y="15747"/>
                </a:lnTo>
                <a:lnTo>
                  <a:pt x="4318" y="18541"/>
                </a:lnTo>
                <a:lnTo>
                  <a:pt x="8635" y="26924"/>
                </a:lnTo>
                <a:lnTo>
                  <a:pt x="18414" y="25272"/>
                </a:lnTo>
                <a:lnTo>
                  <a:pt x="21208" y="23875"/>
                </a:lnTo>
                <a:lnTo>
                  <a:pt x="26797" y="20954"/>
                </a:lnTo>
                <a:lnTo>
                  <a:pt x="28194" y="16763"/>
                </a:lnTo>
                <a:lnTo>
                  <a:pt x="28066" y="9651"/>
                </a:lnTo>
                <a:lnTo>
                  <a:pt x="26670" y="6857"/>
                </a:lnTo>
                <a:lnTo>
                  <a:pt x="19557" y="0"/>
                </a:lnTo>
                <a:close/>
              </a:path>
            </a:pathLst>
          </a:custGeom>
          <a:solidFill>
            <a:srgbClr val="D9D9D9"/>
          </a:solidFill>
        </p:spPr>
        <p:txBody>
          <a:bodyPr wrap="square" lIns="0" tIns="0" rIns="0" bIns="0" rtlCol="0"/>
          <a:lstStyle/>
          <a:p>
            <a:endParaRPr/>
          </a:p>
        </p:txBody>
      </p:sp>
      <p:sp>
        <p:nvSpPr>
          <p:cNvPr id="247" name="object 247"/>
          <p:cNvSpPr/>
          <p:nvPr/>
        </p:nvSpPr>
        <p:spPr>
          <a:xfrm>
            <a:off x="7550658" y="2743200"/>
            <a:ext cx="25401" cy="22860"/>
          </a:xfrm>
          <a:custGeom>
            <a:avLst/>
            <a:gdLst/>
            <a:ahLst/>
            <a:cxnLst/>
            <a:rect l="l" t="t" r="r" b="b"/>
            <a:pathLst>
              <a:path w="25400" h="22860">
                <a:moveTo>
                  <a:pt x="18034" y="0"/>
                </a:moveTo>
                <a:lnTo>
                  <a:pt x="11049" y="126"/>
                </a:lnTo>
                <a:lnTo>
                  <a:pt x="2667" y="4445"/>
                </a:lnTo>
                <a:lnTo>
                  <a:pt x="0" y="12953"/>
                </a:lnTo>
                <a:lnTo>
                  <a:pt x="1397" y="15748"/>
                </a:lnTo>
                <a:lnTo>
                  <a:pt x="8636" y="22605"/>
                </a:lnTo>
                <a:lnTo>
                  <a:pt x="15621" y="22478"/>
                </a:lnTo>
                <a:lnTo>
                  <a:pt x="24002" y="18161"/>
                </a:lnTo>
                <a:lnTo>
                  <a:pt x="25273" y="13970"/>
                </a:lnTo>
                <a:lnTo>
                  <a:pt x="25273" y="6858"/>
                </a:lnTo>
                <a:lnTo>
                  <a:pt x="23749" y="4063"/>
                </a:lnTo>
                <a:lnTo>
                  <a:pt x="18034" y="0"/>
                </a:lnTo>
                <a:close/>
              </a:path>
            </a:pathLst>
          </a:custGeom>
          <a:solidFill>
            <a:srgbClr val="D9D9D9"/>
          </a:solidFill>
        </p:spPr>
        <p:txBody>
          <a:bodyPr wrap="square" lIns="0" tIns="0" rIns="0" bIns="0" rtlCol="0"/>
          <a:lstStyle/>
          <a:p>
            <a:endParaRPr/>
          </a:p>
        </p:txBody>
      </p:sp>
      <p:sp>
        <p:nvSpPr>
          <p:cNvPr id="248" name="object 248"/>
          <p:cNvSpPr/>
          <p:nvPr/>
        </p:nvSpPr>
        <p:spPr>
          <a:xfrm>
            <a:off x="7550658" y="2743200"/>
            <a:ext cx="25401" cy="22860"/>
          </a:xfrm>
          <a:custGeom>
            <a:avLst/>
            <a:gdLst/>
            <a:ahLst/>
            <a:cxnLst/>
            <a:rect l="l" t="t" r="r" b="b"/>
            <a:pathLst>
              <a:path w="25400" h="22860">
                <a:moveTo>
                  <a:pt x="18034" y="0"/>
                </a:moveTo>
                <a:lnTo>
                  <a:pt x="11049" y="126"/>
                </a:lnTo>
                <a:lnTo>
                  <a:pt x="2667" y="4445"/>
                </a:lnTo>
                <a:lnTo>
                  <a:pt x="0" y="12953"/>
                </a:lnTo>
                <a:lnTo>
                  <a:pt x="1397" y="15748"/>
                </a:lnTo>
                <a:lnTo>
                  <a:pt x="8636" y="22605"/>
                </a:lnTo>
                <a:lnTo>
                  <a:pt x="15621" y="22478"/>
                </a:lnTo>
                <a:lnTo>
                  <a:pt x="24002" y="18161"/>
                </a:lnTo>
                <a:lnTo>
                  <a:pt x="25273" y="13970"/>
                </a:lnTo>
                <a:lnTo>
                  <a:pt x="25273" y="6858"/>
                </a:lnTo>
                <a:lnTo>
                  <a:pt x="23749" y="4063"/>
                </a:lnTo>
                <a:lnTo>
                  <a:pt x="18034" y="0"/>
                </a:lnTo>
                <a:close/>
              </a:path>
            </a:pathLst>
          </a:custGeom>
          <a:solidFill>
            <a:srgbClr val="D9D9D9"/>
          </a:solidFill>
        </p:spPr>
        <p:txBody>
          <a:bodyPr wrap="square" lIns="0" tIns="0" rIns="0" bIns="0" rtlCol="0"/>
          <a:lstStyle/>
          <a:p>
            <a:endParaRPr/>
          </a:p>
        </p:txBody>
      </p:sp>
      <p:sp>
        <p:nvSpPr>
          <p:cNvPr id="249" name="object 249"/>
          <p:cNvSpPr/>
          <p:nvPr/>
        </p:nvSpPr>
        <p:spPr>
          <a:xfrm>
            <a:off x="7603744" y="4048253"/>
            <a:ext cx="31115" cy="29845"/>
          </a:xfrm>
          <a:custGeom>
            <a:avLst/>
            <a:gdLst/>
            <a:ahLst/>
            <a:cxnLst/>
            <a:rect l="l" t="t" r="r" b="b"/>
            <a:pathLst>
              <a:path w="31115" h="29845">
                <a:moveTo>
                  <a:pt x="22351" y="0"/>
                </a:moveTo>
                <a:lnTo>
                  <a:pt x="12446" y="1524"/>
                </a:lnTo>
                <a:lnTo>
                  <a:pt x="4190" y="5842"/>
                </a:lnTo>
                <a:lnTo>
                  <a:pt x="0" y="11556"/>
                </a:lnTo>
                <a:lnTo>
                  <a:pt x="126" y="18668"/>
                </a:lnTo>
                <a:lnTo>
                  <a:pt x="1524" y="21336"/>
                </a:lnTo>
                <a:lnTo>
                  <a:pt x="8635" y="28321"/>
                </a:lnTo>
                <a:lnTo>
                  <a:pt x="19938" y="29591"/>
                </a:lnTo>
                <a:lnTo>
                  <a:pt x="22732" y="28067"/>
                </a:lnTo>
                <a:lnTo>
                  <a:pt x="26924" y="22479"/>
                </a:lnTo>
                <a:lnTo>
                  <a:pt x="30987" y="16764"/>
                </a:lnTo>
                <a:lnTo>
                  <a:pt x="28066" y="11175"/>
                </a:lnTo>
                <a:lnTo>
                  <a:pt x="26670" y="8381"/>
                </a:lnTo>
                <a:lnTo>
                  <a:pt x="22351" y="0"/>
                </a:lnTo>
                <a:close/>
              </a:path>
            </a:pathLst>
          </a:custGeom>
          <a:solidFill>
            <a:srgbClr val="D9D9D9"/>
          </a:solidFill>
        </p:spPr>
        <p:txBody>
          <a:bodyPr wrap="square" lIns="0" tIns="0" rIns="0" bIns="0" rtlCol="0"/>
          <a:lstStyle/>
          <a:p>
            <a:endParaRPr/>
          </a:p>
        </p:txBody>
      </p:sp>
      <p:sp>
        <p:nvSpPr>
          <p:cNvPr id="250" name="object 250"/>
          <p:cNvSpPr/>
          <p:nvPr/>
        </p:nvSpPr>
        <p:spPr>
          <a:xfrm>
            <a:off x="7603744" y="4048253"/>
            <a:ext cx="31115" cy="29845"/>
          </a:xfrm>
          <a:custGeom>
            <a:avLst/>
            <a:gdLst/>
            <a:ahLst/>
            <a:cxnLst/>
            <a:rect l="l" t="t" r="r" b="b"/>
            <a:pathLst>
              <a:path w="31115" h="29845">
                <a:moveTo>
                  <a:pt x="22351" y="0"/>
                </a:moveTo>
                <a:lnTo>
                  <a:pt x="12446" y="1524"/>
                </a:lnTo>
                <a:lnTo>
                  <a:pt x="4190" y="5842"/>
                </a:lnTo>
                <a:lnTo>
                  <a:pt x="0" y="11556"/>
                </a:lnTo>
                <a:lnTo>
                  <a:pt x="126" y="18668"/>
                </a:lnTo>
                <a:lnTo>
                  <a:pt x="1524" y="21336"/>
                </a:lnTo>
                <a:lnTo>
                  <a:pt x="8635" y="28321"/>
                </a:lnTo>
                <a:lnTo>
                  <a:pt x="19938" y="29591"/>
                </a:lnTo>
                <a:lnTo>
                  <a:pt x="22732" y="28067"/>
                </a:lnTo>
                <a:lnTo>
                  <a:pt x="26924" y="22479"/>
                </a:lnTo>
                <a:lnTo>
                  <a:pt x="30987" y="16764"/>
                </a:lnTo>
                <a:lnTo>
                  <a:pt x="28066" y="11175"/>
                </a:lnTo>
                <a:lnTo>
                  <a:pt x="26670" y="8381"/>
                </a:lnTo>
                <a:lnTo>
                  <a:pt x="22351" y="0"/>
                </a:lnTo>
                <a:close/>
              </a:path>
            </a:pathLst>
          </a:custGeom>
          <a:solidFill>
            <a:srgbClr val="D9D9D9"/>
          </a:solidFill>
        </p:spPr>
        <p:txBody>
          <a:bodyPr wrap="square" lIns="0" tIns="0" rIns="0" bIns="0" rtlCol="0"/>
          <a:lstStyle/>
          <a:p>
            <a:endParaRPr/>
          </a:p>
        </p:txBody>
      </p:sp>
      <p:sp>
        <p:nvSpPr>
          <p:cNvPr id="251" name="object 251"/>
          <p:cNvSpPr/>
          <p:nvPr/>
        </p:nvSpPr>
        <p:spPr>
          <a:xfrm>
            <a:off x="7720456" y="4046601"/>
            <a:ext cx="26670" cy="25400"/>
          </a:xfrm>
          <a:custGeom>
            <a:avLst/>
            <a:gdLst/>
            <a:ahLst/>
            <a:cxnLst/>
            <a:rect l="l" t="t" r="r" b="b"/>
            <a:pathLst>
              <a:path w="26670" h="25400">
                <a:moveTo>
                  <a:pt x="18034" y="0"/>
                </a:moveTo>
                <a:lnTo>
                  <a:pt x="3937" y="254"/>
                </a:lnTo>
                <a:lnTo>
                  <a:pt x="2667" y="4444"/>
                </a:lnTo>
                <a:lnTo>
                  <a:pt x="1270" y="8636"/>
                </a:lnTo>
                <a:lnTo>
                  <a:pt x="0" y="12954"/>
                </a:lnTo>
                <a:lnTo>
                  <a:pt x="2794" y="18542"/>
                </a:lnTo>
                <a:lnTo>
                  <a:pt x="8509" y="22606"/>
                </a:lnTo>
                <a:lnTo>
                  <a:pt x="17018" y="25273"/>
                </a:lnTo>
                <a:lnTo>
                  <a:pt x="19812" y="23875"/>
                </a:lnTo>
                <a:lnTo>
                  <a:pt x="23875" y="18161"/>
                </a:lnTo>
                <a:lnTo>
                  <a:pt x="25273" y="13969"/>
                </a:lnTo>
                <a:lnTo>
                  <a:pt x="26670" y="9651"/>
                </a:lnTo>
                <a:lnTo>
                  <a:pt x="25146" y="6857"/>
                </a:lnTo>
                <a:lnTo>
                  <a:pt x="18034" y="0"/>
                </a:lnTo>
                <a:close/>
              </a:path>
            </a:pathLst>
          </a:custGeom>
          <a:solidFill>
            <a:srgbClr val="D9D9D9"/>
          </a:solidFill>
        </p:spPr>
        <p:txBody>
          <a:bodyPr wrap="square" lIns="0" tIns="0" rIns="0" bIns="0" rtlCol="0"/>
          <a:lstStyle/>
          <a:p>
            <a:endParaRPr/>
          </a:p>
        </p:txBody>
      </p:sp>
      <p:sp>
        <p:nvSpPr>
          <p:cNvPr id="252" name="object 252"/>
          <p:cNvSpPr/>
          <p:nvPr/>
        </p:nvSpPr>
        <p:spPr>
          <a:xfrm>
            <a:off x="7720456" y="4046601"/>
            <a:ext cx="26670" cy="25400"/>
          </a:xfrm>
          <a:custGeom>
            <a:avLst/>
            <a:gdLst/>
            <a:ahLst/>
            <a:cxnLst/>
            <a:rect l="l" t="t" r="r" b="b"/>
            <a:pathLst>
              <a:path w="26670" h="25400">
                <a:moveTo>
                  <a:pt x="18034" y="0"/>
                </a:moveTo>
                <a:lnTo>
                  <a:pt x="3937" y="254"/>
                </a:lnTo>
                <a:lnTo>
                  <a:pt x="2667" y="4444"/>
                </a:lnTo>
                <a:lnTo>
                  <a:pt x="1270" y="8636"/>
                </a:lnTo>
                <a:lnTo>
                  <a:pt x="0" y="12954"/>
                </a:lnTo>
                <a:lnTo>
                  <a:pt x="2794" y="18542"/>
                </a:lnTo>
                <a:lnTo>
                  <a:pt x="8509" y="22606"/>
                </a:lnTo>
                <a:lnTo>
                  <a:pt x="17018" y="25273"/>
                </a:lnTo>
                <a:lnTo>
                  <a:pt x="19812" y="23875"/>
                </a:lnTo>
                <a:lnTo>
                  <a:pt x="23875" y="18161"/>
                </a:lnTo>
                <a:lnTo>
                  <a:pt x="25273" y="13969"/>
                </a:lnTo>
                <a:lnTo>
                  <a:pt x="26670" y="9651"/>
                </a:lnTo>
                <a:lnTo>
                  <a:pt x="25146" y="6857"/>
                </a:lnTo>
                <a:lnTo>
                  <a:pt x="18034" y="0"/>
                </a:lnTo>
                <a:close/>
              </a:path>
            </a:pathLst>
          </a:custGeom>
          <a:solidFill>
            <a:srgbClr val="D9D9D9"/>
          </a:solidFill>
        </p:spPr>
        <p:txBody>
          <a:bodyPr wrap="square" lIns="0" tIns="0" rIns="0" bIns="0" rtlCol="0"/>
          <a:lstStyle/>
          <a:p>
            <a:endParaRPr/>
          </a:p>
        </p:txBody>
      </p:sp>
      <p:sp>
        <p:nvSpPr>
          <p:cNvPr id="253" name="object 253"/>
          <p:cNvSpPr/>
          <p:nvPr/>
        </p:nvSpPr>
        <p:spPr>
          <a:xfrm>
            <a:off x="7832470" y="4021201"/>
            <a:ext cx="25401" cy="25400"/>
          </a:xfrm>
          <a:custGeom>
            <a:avLst/>
            <a:gdLst/>
            <a:ahLst/>
            <a:cxnLst/>
            <a:rect l="l" t="t" r="r" b="b"/>
            <a:pathLst>
              <a:path w="25400" h="25400">
                <a:moveTo>
                  <a:pt x="9651" y="0"/>
                </a:moveTo>
                <a:lnTo>
                  <a:pt x="2794" y="7112"/>
                </a:lnTo>
                <a:lnTo>
                  <a:pt x="0" y="15493"/>
                </a:lnTo>
                <a:lnTo>
                  <a:pt x="1524" y="18287"/>
                </a:lnTo>
                <a:lnTo>
                  <a:pt x="7238" y="22479"/>
                </a:lnTo>
                <a:lnTo>
                  <a:pt x="15621" y="25146"/>
                </a:lnTo>
                <a:lnTo>
                  <a:pt x="22605" y="18034"/>
                </a:lnTo>
                <a:lnTo>
                  <a:pt x="25273" y="9525"/>
                </a:lnTo>
                <a:lnTo>
                  <a:pt x="23875" y="6731"/>
                </a:lnTo>
                <a:lnTo>
                  <a:pt x="18160" y="2667"/>
                </a:lnTo>
                <a:lnTo>
                  <a:pt x="9651" y="0"/>
                </a:lnTo>
                <a:close/>
              </a:path>
            </a:pathLst>
          </a:custGeom>
          <a:solidFill>
            <a:srgbClr val="D9D9D9"/>
          </a:solidFill>
        </p:spPr>
        <p:txBody>
          <a:bodyPr wrap="square" lIns="0" tIns="0" rIns="0" bIns="0" rtlCol="0"/>
          <a:lstStyle/>
          <a:p>
            <a:endParaRPr/>
          </a:p>
        </p:txBody>
      </p:sp>
      <p:sp>
        <p:nvSpPr>
          <p:cNvPr id="254" name="object 254"/>
          <p:cNvSpPr/>
          <p:nvPr/>
        </p:nvSpPr>
        <p:spPr>
          <a:xfrm>
            <a:off x="7832470" y="4021201"/>
            <a:ext cx="25401" cy="25400"/>
          </a:xfrm>
          <a:custGeom>
            <a:avLst/>
            <a:gdLst/>
            <a:ahLst/>
            <a:cxnLst/>
            <a:rect l="l" t="t" r="r" b="b"/>
            <a:pathLst>
              <a:path w="25400" h="25400">
                <a:moveTo>
                  <a:pt x="9651" y="0"/>
                </a:moveTo>
                <a:lnTo>
                  <a:pt x="2794" y="7112"/>
                </a:lnTo>
                <a:lnTo>
                  <a:pt x="0" y="15493"/>
                </a:lnTo>
                <a:lnTo>
                  <a:pt x="1524" y="18287"/>
                </a:lnTo>
                <a:lnTo>
                  <a:pt x="7238" y="22479"/>
                </a:lnTo>
                <a:lnTo>
                  <a:pt x="15621" y="25146"/>
                </a:lnTo>
                <a:lnTo>
                  <a:pt x="22605" y="18034"/>
                </a:lnTo>
                <a:lnTo>
                  <a:pt x="25273" y="9525"/>
                </a:lnTo>
                <a:lnTo>
                  <a:pt x="23875" y="6731"/>
                </a:lnTo>
                <a:lnTo>
                  <a:pt x="18160" y="2667"/>
                </a:lnTo>
                <a:lnTo>
                  <a:pt x="9651" y="0"/>
                </a:lnTo>
                <a:close/>
              </a:path>
            </a:pathLst>
          </a:custGeom>
          <a:solidFill>
            <a:srgbClr val="D9D9D9"/>
          </a:solidFill>
        </p:spPr>
        <p:txBody>
          <a:bodyPr wrap="square" lIns="0" tIns="0" rIns="0" bIns="0" rtlCol="0"/>
          <a:lstStyle/>
          <a:p>
            <a:endParaRPr/>
          </a:p>
        </p:txBody>
      </p:sp>
      <p:sp>
        <p:nvSpPr>
          <p:cNvPr id="263" name="Title 262"/>
          <p:cNvSpPr>
            <a:spLocks noGrp="1"/>
          </p:cNvSpPr>
          <p:nvPr>
            <p:ph type="title"/>
          </p:nvPr>
        </p:nvSpPr>
        <p:spPr>
          <a:xfrm>
            <a:off x="347866" y="304550"/>
            <a:ext cx="9243021" cy="855026"/>
          </a:xfrm>
        </p:spPr>
        <p:txBody>
          <a:bodyPr/>
          <a:lstStyle/>
          <a:p>
            <a:r>
              <a:rPr lang="en-US" dirty="0"/>
              <a:t>QUIZ</a:t>
            </a:r>
          </a:p>
        </p:txBody>
      </p:sp>
      <p:sp>
        <p:nvSpPr>
          <p:cNvPr id="262" name="Content Placeholder 261"/>
          <p:cNvSpPr>
            <a:spLocks noGrp="1"/>
          </p:cNvSpPr>
          <p:nvPr>
            <p:ph idx="1"/>
          </p:nvPr>
        </p:nvSpPr>
        <p:spPr/>
        <p:txBody>
          <a:bodyPr/>
          <a:lstStyle/>
          <a:p>
            <a:r>
              <a:rPr lang="en-US" sz="2000" dirty="0"/>
              <a:t>3.What is a characteristic of a dependent data mart?</a:t>
            </a:r>
          </a:p>
          <a:p>
            <a:pPr lvl="1"/>
            <a:r>
              <a:rPr lang="en-US" sz="1800" dirty="0"/>
              <a:t>A. contains unique data</a:t>
            </a:r>
          </a:p>
          <a:p>
            <a:pPr lvl="1"/>
            <a:r>
              <a:rPr lang="en-US" sz="1800" dirty="0"/>
              <a:t>B. is the system of record</a:t>
            </a:r>
          </a:p>
          <a:p>
            <a:pPr lvl="1"/>
            <a:r>
              <a:rPr lang="en-US" sz="1800" dirty="0"/>
              <a:t>C. sourced from operational systems</a:t>
            </a:r>
          </a:p>
          <a:p>
            <a:pPr lvl="1"/>
            <a:r>
              <a:rPr lang="en-US" sz="1800" dirty="0"/>
              <a:t>D. subset of data often used by a </a:t>
            </a:r>
            <a:r>
              <a:rPr lang="en-US" sz="1800" dirty="0" smtClean="0"/>
              <a:t>department</a:t>
            </a:r>
          </a:p>
          <a:p>
            <a:pPr marL="174625" lvl="1" indent="0">
              <a:buNone/>
            </a:pPr>
            <a:endParaRPr lang="en-US" sz="1800" dirty="0"/>
          </a:p>
          <a:p>
            <a:pPr lvl="1">
              <a:buClr>
                <a:srgbClr val="00B0F0"/>
              </a:buClr>
            </a:pPr>
            <a:r>
              <a:rPr lang="en-US" sz="2000" dirty="0"/>
              <a:t>4.What is used by PEs and AMPs for internal </a:t>
            </a:r>
            <a:r>
              <a:rPr lang="en-US" sz="2000" dirty="0" smtClean="0"/>
              <a:t>communications?</a:t>
            </a:r>
          </a:p>
          <a:p>
            <a:pPr lvl="2">
              <a:buFont typeface="Wingdings" panose="05000000000000000000" pitchFamily="2" charset="2"/>
              <a:buChar char="§"/>
            </a:pPr>
            <a:r>
              <a:rPr lang="en-US" sz="1800" dirty="0" smtClean="0"/>
              <a:t>A. the YNET</a:t>
            </a:r>
          </a:p>
          <a:p>
            <a:pPr lvl="2">
              <a:buFont typeface="Wingdings" panose="05000000000000000000" pitchFamily="2" charset="2"/>
              <a:buChar char="§"/>
            </a:pPr>
            <a:r>
              <a:rPr lang="en-US" sz="1800" dirty="0" smtClean="0"/>
              <a:t>B</a:t>
            </a:r>
            <a:r>
              <a:rPr lang="en-US" sz="1800" dirty="0"/>
              <a:t>. the BYNET</a:t>
            </a:r>
          </a:p>
          <a:p>
            <a:pPr lvl="2">
              <a:buFont typeface="Wingdings" panose="05000000000000000000" pitchFamily="2" charset="2"/>
              <a:buChar char="§"/>
            </a:pPr>
            <a:r>
              <a:rPr lang="en-US" sz="1800" dirty="0"/>
              <a:t>C. a proprietary LAN</a:t>
            </a:r>
          </a:p>
          <a:p>
            <a:pPr lvl="2">
              <a:buFont typeface="Wingdings" panose="05000000000000000000" pitchFamily="2" charset="2"/>
              <a:buChar char="§"/>
            </a:pPr>
            <a:r>
              <a:rPr lang="en-US" sz="1800" dirty="0"/>
              <a:t>D. an inter-node WAN</a:t>
            </a:r>
          </a:p>
          <a:p>
            <a:pPr lvl="1"/>
            <a:endParaRPr lang="en-US" sz="1800" dirty="0" smtClean="0"/>
          </a:p>
          <a:p>
            <a:endParaRPr lang="en-US" dirty="0"/>
          </a:p>
        </p:txBody>
      </p:sp>
      <p:sp>
        <p:nvSpPr>
          <p:cNvPr id="258" name="object 258"/>
          <p:cNvSpPr txBox="1"/>
          <p:nvPr/>
        </p:nvSpPr>
        <p:spPr>
          <a:xfrm>
            <a:off x="7238999" y="1676400"/>
            <a:ext cx="2063750" cy="473206"/>
          </a:xfrm>
          <a:prstGeom prst="rect">
            <a:avLst/>
          </a:prstGeom>
          <a:solidFill>
            <a:srgbClr val="588E1F"/>
          </a:solidFill>
          <a:ln w="25400">
            <a:solidFill>
              <a:srgbClr val="3E6713"/>
            </a:solidFill>
          </a:ln>
        </p:spPr>
        <p:txBody>
          <a:bodyPr vert="horz" wrap="square" lIns="0" tIns="179070" rIns="0" bIns="0" rtlCol="0">
            <a:spAutoFit/>
          </a:bodyPr>
          <a:lstStyle/>
          <a:p>
            <a:pPr marL="511175">
              <a:lnSpc>
                <a:spcPct val="100000"/>
              </a:lnSpc>
              <a:spcBef>
                <a:spcPts val="1410"/>
              </a:spcBef>
            </a:pPr>
            <a:r>
              <a:rPr sz="1900" b="1" spc="-5" dirty="0">
                <a:solidFill>
                  <a:srgbClr val="FFFFFF"/>
                </a:solidFill>
                <a:latin typeface="Arial"/>
                <a:cs typeface="Arial"/>
              </a:rPr>
              <a:t>Option</a:t>
            </a:r>
            <a:r>
              <a:rPr sz="1900" b="1" spc="-90" dirty="0">
                <a:solidFill>
                  <a:srgbClr val="FFFFFF"/>
                </a:solidFill>
                <a:latin typeface="Arial"/>
                <a:cs typeface="Arial"/>
              </a:rPr>
              <a:t> </a:t>
            </a:r>
            <a:r>
              <a:rPr sz="1900" b="1" spc="-5" dirty="0">
                <a:solidFill>
                  <a:srgbClr val="FFFFFF"/>
                </a:solidFill>
                <a:latin typeface="Arial"/>
                <a:cs typeface="Arial"/>
              </a:rPr>
              <a:t>D</a:t>
            </a:r>
            <a:endParaRPr sz="1900">
              <a:latin typeface="Arial"/>
              <a:cs typeface="Arial"/>
            </a:endParaRPr>
          </a:p>
        </p:txBody>
      </p:sp>
      <p:sp>
        <p:nvSpPr>
          <p:cNvPr id="259" name="object 259"/>
          <p:cNvSpPr txBox="1"/>
          <p:nvPr/>
        </p:nvSpPr>
        <p:spPr>
          <a:xfrm>
            <a:off x="7238999" y="4267200"/>
            <a:ext cx="2063750" cy="473848"/>
          </a:xfrm>
          <a:prstGeom prst="rect">
            <a:avLst/>
          </a:prstGeom>
          <a:solidFill>
            <a:srgbClr val="588E1F"/>
          </a:solidFill>
          <a:ln w="25400">
            <a:solidFill>
              <a:srgbClr val="3E6713"/>
            </a:solidFill>
          </a:ln>
        </p:spPr>
        <p:txBody>
          <a:bodyPr vert="horz" wrap="square" lIns="0" tIns="179705" rIns="0" bIns="0" rtlCol="0">
            <a:spAutoFit/>
          </a:bodyPr>
          <a:lstStyle/>
          <a:p>
            <a:pPr marL="511175">
              <a:lnSpc>
                <a:spcPct val="100000"/>
              </a:lnSpc>
              <a:spcBef>
                <a:spcPts val="1415"/>
              </a:spcBef>
            </a:pPr>
            <a:r>
              <a:rPr sz="1900" b="1" spc="-5" dirty="0">
                <a:solidFill>
                  <a:srgbClr val="FFFFFF"/>
                </a:solidFill>
                <a:latin typeface="Arial"/>
                <a:cs typeface="Arial"/>
              </a:rPr>
              <a:t>Option</a:t>
            </a:r>
            <a:r>
              <a:rPr sz="1900" b="1" spc="-90" dirty="0">
                <a:solidFill>
                  <a:srgbClr val="FFFFFF"/>
                </a:solidFill>
                <a:latin typeface="Arial"/>
                <a:cs typeface="Arial"/>
              </a:rPr>
              <a:t> </a:t>
            </a:r>
            <a:r>
              <a:rPr sz="1900" b="1" spc="-5" dirty="0">
                <a:solidFill>
                  <a:srgbClr val="FFFFFF"/>
                </a:solidFill>
                <a:latin typeface="Arial"/>
                <a:cs typeface="Arial"/>
              </a:rPr>
              <a:t>B</a:t>
            </a:r>
            <a:endParaRPr sz="1900">
              <a:latin typeface="Arial"/>
              <a:cs typeface="Aria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Module 1: Lab Exercise</a:t>
            </a:r>
          </a:p>
        </p:txBody>
      </p:sp>
      <p:sp>
        <p:nvSpPr>
          <p:cNvPr id="6" name="Content Placeholder 5"/>
          <p:cNvSpPr>
            <a:spLocks noGrp="1"/>
          </p:cNvSpPr>
          <p:nvPr>
            <p:ph idx="1"/>
          </p:nvPr>
        </p:nvSpPr>
        <p:spPr/>
        <p:txBody>
          <a:bodyPr/>
          <a:lstStyle/>
          <a:p>
            <a:r>
              <a:rPr lang="en-US" dirty="0"/>
              <a:t>Create a copy of the table </a:t>
            </a:r>
            <a:r>
              <a:rPr lang="en-US" dirty="0" err="1"/>
              <a:t>employee_sales.employee</a:t>
            </a:r>
            <a:r>
              <a:rPr lang="en-US" dirty="0"/>
              <a:t> using the </a:t>
            </a:r>
            <a:r>
              <a:rPr lang="en-US" dirty="0" err="1"/>
              <a:t>subquery</a:t>
            </a:r>
            <a:r>
              <a:rPr lang="en-US" dirty="0"/>
              <a:t>  form with a “SELECT *”, populating it with data. Show the definition of it to  check primary index.  Then perform a SELECT * against it.</a:t>
            </a:r>
          </a:p>
          <a:p>
            <a:endParaRPr lang="en-US" dirty="0"/>
          </a:p>
          <a:p>
            <a:r>
              <a:rPr lang="en-US" dirty="0" smtClean="0"/>
              <a:t>Use </a:t>
            </a:r>
            <a:r>
              <a:rPr lang="en-US" dirty="0"/>
              <a:t>a </a:t>
            </a:r>
            <a:r>
              <a:rPr lang="en-US" dirty="0" err="1"/>
              <a:t>subquery</a:t>
            </a:r>
            <a:r>
              <a:rPr lang="en-US" dirty="0"/>
              <a:t> form to create a table, with data, from a left outer join against  Employee, Department and Job. Project last name, first name, department  name and job description.  Verify the results.</a:t>
            </a:r>
          </a:p>
          <a:p>
            <a:endParaRPr lang="en-US" dirty="0"/>
          </a:p>
          <a:p>
            <a:endParaRPr lang="en-US" dirty="0"/>
          </a:p>
          <a:p>
            <a:endParaRPr lang="en-US"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odule 1: Lab Exercise</a:t>
            </a:r>
          </a:p>
        </p:txBody>
      </p:sp>
      <p:sp>
        <p:nvSpPr>
          <p:cNvPr id="6" name="Content Placeholder 5"/>
          <p:cNvSpPr>
            <a:spLocks noGrp="1"/>
          </p:cNvSpPr>
          <p:nvPr>
            <p:ph idx="1"/>
          </p:nvPr>
        </p:nvSpPr>
        <p:spPr/>
        <p:txBody>
          <a:bodyPr/>
          <a:lstStyle/>
          <a:p>
            <a:r>
              <a:rPr lang="en-US" dirty="0" smtClean="0"/>
              <a:t>Using the </a:t>
            </a:r>
            <a:r>
              <a:rPr lang="en-US" dirty="0" err="1" smtClean="0"/>
              <a:t>subquery</a:t>
            </a:r>
            <a:r>
              <a:rPr lang="en-US" dirty="0" smtClean="0"/>
              <a:t> form of CREATE TABLE AS, create a new Job table and  assign the column for hourly billing rate a default of zero. Leave all column  names the same as in the Job table. Insert the default into the new table  from the </a:t>
            </a:r>
            <a:r>
              <a:rPr lang="en-US" dirty="0" err="1" smtClean="0"/>
              <a:t>subquery</a:t>
            </a:r>
            <a:r>
              <a:rPr lang="en-US" dirty="0" smtClean="0"/>
              <a:t> and use the WITH DATA option. Select from the table to  confirm the result.</a:t>
            </a:r>
          </a:p>
          <a:p>
            <a:endParaRPr lang="en-US" dirty="0" smtClean="0"/>
          </a:p>
          <a:p>
            <a:r>
              <a:rPr lang="en-US" dirty="0" smtClean="0"/>
              <a:t>Optional: Perform the following and follow it up by selecting from the table  and showing the definition.</a:t>
            </a:r>
          </a:p>
          <a:p>
            <a:endParaRPr lang="en-US" dirty="0" smtClean="0"/>
          </a:p>
          <a:p>
            <a:r>
              <a:rPr lang="en-US" dirty="0" smtClean="0"/>
              <a:t>CREATE TABLE </a:t>
            </a:r>
            <a:r>
              <a:rPr lang="en-US" dirty="0" err="1" smtClean="0"/>
              <a:t>y_me</a:t>
            </a:r>
            <a:r>
              <a:rPr lang="en-US" dirty="0" smtClean="0"/>
              <a:t> AS (SELECT 1 a, '</a:t>
            </a:r>
            <a:r>
              <a:rPr lang="en-US" dirty="0" err="1" smtClean="0"/>
              <a:t>abc</a:t>
            </a:r>
            <a:r>
              <a:rPr lang="en-US" dirty="0" smtClean="0"/>
              <a:t>' d, 1e6 j) WITH DATA;</a:t>
            </a:r>
          </a:p>
          <a:p>
            <a:endParaRPr lang="en-US" dirty="0"/>
          </a:p>
        </p:txBody>
      </p:sp>
    </p:spTree>
    <p:extLst>
      <p:ext uri="{BB962C8B-B14F-4D97-AF65-F5344CB8AC3E}">
        <p14:creationId xmlns:p14="http://schemas.microsoft.com/office/powerpoint/2010/main" val="36917887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sz="2800" dirty="0"/>
              <a:t>RDBMS Concepts	Relational Database</a:t>
            </a:r>
          </a:p>
        </p:txBody>
      </p:sp>
      <p:sp>
        <p:nvSpPr>
          <p:cNvPr id="7" name="Content Placeholder 6"/>
          <p:cNvSpPr>
            <a:spLocks noGrp="1"/>
          </p:cNvSpPr>
          <p:nvPr>
            <p:ph idx="1"/>
          </p:nvPr>
        </p:nvSpPr>
        <p:spPr/>
        <p:txBody>
          <a:bodyPr/>
          <a:lstStyle/>
          <a:p>
            <a:r>
              <a:rPr lang="en-US" sz="2000" dirty="0" smtClean="0"/>
              <a:t>Relational </a:t>
            </a:r>
            <a:r>
              <a:rPr lang="en-US" sz="2000" dirty="0"/>
              <a:t>Databases present data as of a set of logically related tables.</a:t>
            </a:r>
          </a:p>
          <a:p>
            <a:r>
              <a:rPr lang="en-US" sz="2000" dirty="0"/>
              <a:t>A table is a 2 dimensional representation of data that consists of rows &amp; columns</a:t>
            </a:r>
            <a:r>
              <a:rPr lang="en-US" dirty="0"/>
              <a:t>.</a:t>
            </a:r>
          </a:p>
          <a:p>
            <a:endParaRPr lang="en-US" dirty="0"/>
          </a:p>
        </p:txBody>
      </p:sp>
      <p:sp>
        <p:nvSpPr>
          <p:cNvPr id="4" name="object 4"/>
          <p:cNvSpPr/>
          <p:nvPr/>
        </p:nvSpPr>
        <p:spPr>
          <a:xfrm>
            <a:off x="685800" y="2783476"/>
            <a:ext cx="7772400" cy="3581400"/>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 includes all differences between 13 and 14</a:t>
            </a:r>
          </a:p>
        </p:txBody>
      </p:sp>
      <p:sp>
        <p:nvSpPr>
          <p:cNvPr id="6" name="Content Placeholder 5"/>
          <p:cNvSpPr>
            <a:spLocks noGrp="1"/>
          </p:cNvSpPr>
          <p:nvPr>
            <p:ph idx="1"/>
          </p:nvPr>
        </p:nvSpPr>
        <p:spPr/>
        <p:txBody>
          <a:bodyPr/>
          <a:lstStyle/>
          <a:p>
            <a:r>
              <a:rPr lang="en-US" dirty="0"/>
              <a:t>The Release Notes are part of the Documentation, available at</a:t>
            </a:r>
          </a:p>
          <a:p>
            <a:endParaRPr lang="en-US" dirty="0"/>
          </a:p>
          <a:p>
            <a:pPr lvl="1"/>
            <a:r>
              <a:rPr lang="en-US" dirty="0"/>
              <a:t>http://www.info.teradata.com/edownload.cfm?itemid=102320028  </a:t>
            </a:r>
            <a:endParaRPr lang="en-US" dirty="0" smtClean="0"/>
          </a:p>
          <a:p>
            <a:pPr lvl="1"/>
            <a:r>
              <a:rPr lang="en-US" dirty="0" smtClean="0"/>
              <a:t>http</a:t>
            </a:r>
            <a:r>
              <a:rPr lang="en-US" dirty="0"/>
              <a:t>://www.info.teradata.com/edownload.cfm?itemid=113480006  http://www.info.teradata.com</a:t>
            </a:r>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81000" y="228600"/>
            <a:ext cx="9243021" cy="855026"/>
          </a:xfrm>
        </p:spPr>
        <p:txBody>
          <a:bodyPr>
            <a:normAutofit/>
          </a:bodyPr>
          <a:lstStyle/>
          <a:p>
            <a:r>
              <a:rPr lang="en-US" sz="2800" dirty="0"/>
              <a:t>RDBMS Concepts	→	Data Modeling</a:t>
            </a:r>
          </a:p>
        </p:txBody>
      </p:sp>
      <p:sp>
        <p:nvSpPr>
          <p:cNvPr id="6" name="Content Placeholder 5"/>
          <p:cNvSpPr>
            <a:spLocks noGrp="1"/>
          </p:cNvSpPr>
          <p:nvPr>
            <p:ph idx="1"/>
          </p:nvPr>
        </p:nvSpPr>
        <p:spPr>
          <a:xfrm>
            <a:off x="305195" y="1083626"/>
            <a:ext cx="9582608" cy="4643751"/>
          </a:xfrm>
        </p:spPr>
        <p:txBody>
          <a:bodyPr>
            <a:normAutofit fontScale="92500" lnSpcReduction="10000"/>
          </a:bodyPr>
          <a:lstStyle/>
          <a:p>
            <a:r>
              <a:rPr lang="en-US" sz="2200" dirty="0"/>
              <a:t>3NF (Third Normal Form):-</a:t>
            </a:r>
          </a:p>
          <a:p>
            <a:pPr lvl="1"/>
            <a:r>
              <a:rPr lang="en-US" sz="1900" dirty="0"/>
              <a:t>A normalized model includes:-</a:t>
            </a:r>
          </a:p>
          <a:p>
            <a:pPr lvl="2"/>
            <a:r>
              <a:rPr lang="en-US" sz="1700" dirty="0"/>
              <a:t>Entities</a:t>
            </a:r>
          </a:p>
          <a:p>
            <a:pPr lvl="2"/>
            <a:r>
              <a:rPr lang="en-US" sz="1700" dirty="0"/>
              <a:t>Attributes</a:t>
            </a:r>
          </a:p>
          <a:p>
            <a:pPr lvl="2"/>
            <a:r>
              <a:rPr lang="en-US" sz="1700" dirty="0"/>
              <a:t>Relationships</a:t>
            </a:r>
          </a:p>
          <a:p>
            <a:r>
              <a:rPr lang="en-US" sz="2200" dirty="0"/>
              <a:t>Rules of Normalization:-</a:t>
            </a:r>
          </a:p>
          <a:p>
            <a:pPr lvl="1"/>
            <a:r>
              <a:rPr lang="en-US" sz="1900" dirty="0"/>
              <a:t>1st NF </a:t>
            </a:r>
            <a:r>
              <a:rPr lang="en-US" sz="1900" dirty="0" smtClean="0"/>
              <a:t>→ Each </a:t>
            </a:r>
            <a:r>
              <a:rPr lang="en-US" sz="1900" dirty="0"/>
              <a:t>&amp; every attribute within an entity has 1 &amp; only 1 value.</a:t>
            </a:r>
          </a:p>
          <a:p>
            <a:pPr marL="174625" lvl="1" indent="0">
              <a:buNone/>
            </a:pPr>
            <a:r>
              <a:rPr lang="en-US" sz="1900" dirty="0" smtClean="0"/>
              <a:t>	        No </a:t>
            </a:r>
            <a:r>
              <a:rPr lang="en-US" sz="1900" dirty="0"/>
              <a:t>repeating groups are allowed within entities.</a:t>
            </a:r>
          </a:p>
          <a:p>
            <a:pPr lvl="1"/>
            <a:r>
              <a:rPr lang="en-US" sz="1900" dirty="0"/>
              <a:t>2nd </a:t>
            </a:r>
            <a:r>
              <a:rPr lang="en-US" sz="1900" dirty="0" smtClean="0"/>
              <a:t>NF→ Entity </a:t>
            </a:r>
            <a:r>
              <a:rPr lang="en-US" sz="1900" dirty="0"/>
              <a:t>must conform to the 1st NF </a:t>
            </a:r>
            <a:r>
              <a:rPr lang="en-US" sz="1900" dirty="0" smtClean="0"/>
              <a:t>rules.</a:t>
            </a:r>
          </a:p>
          <a:p>
            <a:pPr lvl="1"/>
            <a:r>
              <a:rPr lang="en-US" sz="1900" dirty="0" smtClean="0"/>
              <a:t>Every </a:t>
            </a:r>
            <a:r>
              <a:rPr lang="en-US" sz="1900" dirty="0"/>
              <a:t>non-key attribute within an entity is fully </a:t>
            </a:r>
            <a:r>
              <a:rPr lang="en-US" sz="1900" dirty="0" smtClean="0"/>
              <a:t>dependent </a:t>
            </a:r>
            <a:r>
              <a:rPr lang="en-US" sz="1900" dirty="0"/>
              <a:t>upon the entire  </a:t>
            </a:r>
            <a:r>
              <a:rPr lang="en-US" sz="1900" dirty="0" smtClean="0"/>
              <a:t>	</a:t>
            </a:r>
            <a:endParaRPr lang="en-US" sz="1900" dirty="0"/>
          </a:p>
          <a:p>
            <a:pPr lvl="1"/>
            <a:r>
              <a:rPr lang="en-US" sz="1900" dirty="0" smtClean="0"/>
              <a:t>key </a:t>
            </a:r>
            <a:r>
              <a:rPr lang="en-US" sz="1900" dirty="0"/>
              <a:t>of the entity &amp; not a subset of the key</a:t>
            </a:r>
          </a:p>
          <a:p>
            <a:pPr lvl="1"/>
            <a:r>
              <a:rPr lang="en-US" sz="1900" dirty="0"/>
              <a:t>3rd NF</a:t>
            </a:r>
            <a:r>
              <a:rPr lang="en-US" sz="1900" dirty="0" smtClean="0"/>
              <a:t>→  Entity </a:t>
            </a:r>
            <a:r>
              <a:rPr lang="en-US" sz="1900" dirty="0"/>
              <a:t>must conform to the 1st NF &amp; 2nd NF rules.</a:t>
            </a:r>
          </a:p>
          <a:p>
            <a:pPr marL="0" indent="0">
              <a:buNone/>
            </a:pPr>
            <a:r>
              <a:rPr lang="en-US" sz="1900" dirty="0"/>
              <a:t> </a:t>
            </a:r>
            <a:r>
              <a:rPr lang="en-US" sz="1900" dirty="0" smtClean="0"/>
              <a:t>     No </a:t>
            </a:r>
            <a:r>
              <a:rPr lang="en-US" sz="1900" dirty="0"/>
              <a:t>non-key attributes within an entity is functionally </a:t>
            </a:r>
            <a:r>
              <a:rPr lang="en-US" sz="1900" dirty="0" smtClean="0"/>
              <a:t>dependent </a:t>
            </a:r>
            <a:r>
              <a:rPr lang="en-US" sz="1900" dirty="0"/>
              <a:t>upon </a:t>
            </a:r>
            <a:r>
              <a:rPr lang="en-US" sz="1900" dirty="0" smtClean="0"/>
              <a:t>another </a:t>
            </a:r>
            <a:r>
              <a:rPr lang="en-US" sz="1900" dirty="0"/>
              <a:t>non-key </a:t>
            </a:r>
            <a:r>
              <a:rPr lang="en-US" sz="1900" dirty="0" err="1" smtClean="0"/>
              <a:t>attributewithin</a:t>
            </a:r>
            <a:r>
              <a:rPr lang="en-US" sz="1900" dirty="0" smtClean="0"/>
              <a:t> </a:t>
            </a:r>
            <a:r>
              <a:rPr lang="en-US" sz="1900" dirty="0"/>
              <a:t>the same </a:t>
            </a:r>
            <a:r>
              <a:rPr lang="en-US" sz="1900" dirty="0" smtClean="0"/>
              <a:t>entity. Star </a:t>
            </a:r>
            <a:r>
              <a:rPr lang="en-US" sz="1900" dirty="0"/>
              <a:t>Schema &amp; Snowflake Schema:</a:t>
            </a:r>
          </a:p>
          <a:p>
            <a:r>
              <a:rPr lang="en-US" sz="2200" dirty="0"/>
              <a:t>A Star schema model includes:-</a:t>
            </a:r>
          </a:p>
          <a:p>
            <a:pPr lvl="1"/>
            <a:r>
              <a:rPr lang="en-US" sz="1900" dirty="0"/>
              <a:t>Facts &amp; Dimensions</a:t>
            </a:r>
          </a:p>
          <a:p>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800" dirty="0"/>
              <a:t>RDBMS Concepts	→	Data Modeling</a:t>
            </a:r>
          </a:p>
        </p:txBody>
      </p:sp>
      <p:sp>
        <p:nvSpPr>
          <p:cNvPr id="6" name="Content Placeholder 5"/>
          <p:cNvSpPr>
            <a:spLocks noGrp="1"/>
          </p:cNvSpPr>
          <p:nvPr>
            <p:ph idx="1"/>
          </p:nvPr>
        </p:nvSpPr>
        <p:spPr/>
        <p:txBody>
          <a:bodyPr/>
          <a:lstStyle/>
          <a:p>
            <a:r>
              <a:rPr lang="en-US" sz="2000" dirty="0"/>
              <a:t>Normalization:</a:t>
            </a:r>
          </a:p>
          <a:p>
            <a:pPr lvl="1"/>
            <a:r>
              <a:rPr lang="en-US" sz="1800" dirty="0"/>
              <a:t>Process of reducing a complex data structure into a simple,</a:t>
            </a:r>
          </a:p>
          <a:p>
            <a:pPr lvl="1"/>
            <a:r>
              <a:rPr lang="en-US" sz="1800" dirty="0"/>
              <a:t>stable model.</a:t>
            </a:r>
          </a:p>
          <a:p>
            <a:pPr lvl="1"/>
            <a:r>
              <a:rPr lang="en-US" sz="1800" dirty="0"/>
              <a:t>Involves removing redundant attributes, keys, and relationships  from the data model.</a:t>
            </a:r>
          </a:p>
          <a:p>
            <a:endParaRPr lang="en-US" dirty="0"/>
          </a:p>
          <a:p>
            <a:endParaRPr lang="en-US" dirty="0"/>
          </a:p>
          <a:p>
            <a:r>
              <a:rPr lang="en-US" sz="2000" dirty="0"/>
              <a:t>Star Schema:</a:t>
            </a:r>
          </a:p>
          <a:p>
            <a:pPr lvl="1"/>
            <a:r>
              <a:rPr lang="en-US" sz="1800" dirty="0" smtClean="0"/>
              <a:t>Process </a:t>
            </a:r>
            <a:r>
              <a:rPr lang="en-US" sz="1800" dirty="0"/>
              <a:t>of having fewer entities</a:t>
            </a:r>
          </a:p>
          <a:p>
            <a:pPr lvl="1"/>
            <a:r>
              <a:rPr lang="en-US" sz="1800" dirty="0" smtClean="0"/>
              <a:t>Involves </a:t>
            </a:r>
            <a:r>
              <a:rPr lang="en-US" sz="1800" dirty="0"/>
              <a:t>a greater level of </a:t>
            </a:r>
            <a:r>
              <a:rPr lang="en-US" sz="1800" dirty="0" err="1"/>
              <a:t>denormalization</a:t>
            </a:r>
            <a:endParaRPr lang="en-US" sz="1800" dirty="0"/>
          </a:p>
          <a:p>
            <a:endParaRPr lang="en-US" sz="18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31491" y="1268413"/>
            <a:ext cx="8778240" cy="475488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normAutofit/>
          </a:bodyPr>
          <a:lstStyle/>
          <a:p>
            <a:r>
              <a:rPr lang="en-US" sz="2800" dirty="0"/>
              <a:t>Example on Normalization</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76891" y="1828800"/>
            <a:ext cx="9372600" cy="2743200"/>
          </a:xfrm>
          <a:prstGeom prst="rect">
            <a:avLst/>
          </a:prstGeom>
          <a:blipFill>
            <a:blip r:embed="rId3" cstate="print"/>
            <a:stretch>
              <a:fillRect/>
            </a:stretch>
          </a:blipFill>
        </p:spPr>
        <p:txBody>
          <a:bodyPr wrap="square" lIns="0" tIns="0" rIns="0" bIns="0" rtlCol="0"/>
          <a:lstStyle/>
          <a:p>
            <a:endParaRPr/>
          </a:p>
        </p:txBody>
      </p:sp>
      <p:sp>
        <p:nvSpPr>
          <p:cNvPr id="7" name="Title 6"/>
          <p:cNvSpPr>
            <a:spLocks noGrp="1"/>
          </p:cNvSpPr>
          <p:nvPr>
            <p:ph type="title"/>
          </p:nvPr>
        </p:nvSpPr>
        <p:spPr/>
        <p:txBody>
          <a:bodyPr>
            <a:normAutofit/>
          </a:bodyPr>
          <a:lstStyle/>
          <a:p>
            <a:r>
              <a:rPr lang="en-US" sz="2800" dirty="0"/>
              <a:t>Example on Normalization</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sz="2800" dirty="0"/>
              <a:t>RDBMS Concepts – Primary Key</a:t>
            </a:r>
          </a:p>
        </p:txBody>
      </p:sp>
      <p:sp>
        <p:nvSpPr>
          <p:cNvPr id="7" name="Content Placeholder 6"/>
          <p:cNvSpPr>
            <a:spLocks noGrp="1"/>
          </p:cNvSpPr>
          <p:nvPr>
            <p:ph idx="1"/>
          </p:nvPr>
        </p:nvSpPr>
        <p:spPr/>
        <p:txBody>
          <a:bodyPr/>
          <a:lstStyle/>
          <a:p>
            <a:r>
              <a:rPr lang="en-US" sz="2000" dirty="0"/>
              <a:t>Primary Key (PK) values uniquely identify each row in a </a:t>
            </a:r>
            <a:r>
              <a:rPr lang="en-US" sz="2000" dirty="0" smtClean="0"/>
              <a:t>table.</a:t>
            </a:r>
          </a:p>
          <a:p>
            <a:endParaRPr lang="en-US" sz="2000" dirty="0"/>
          </a:p>
          <a:p>
            <a:r>
              <a:rPr lang="en-US" sz="2000" dirty="0"/>
              <a:t>Primary Key Rules</a:t>
            </a:r>
          </a:p>
          <a:p>
            <a:pPr lvl="1"/>
            <a:r>
              <a:rPr lang="en-US" sz="1800" dirty="0" smtClean="0"/>
              <a:t>A </a:t>
            </a:r>
            <a:r>
              <a:rPr lang="en-US" sz="1800" dirty="0"/>
              <a:t>Primary Key is required for every table.</a:t>
            </a:r>
          </a:p>
          <a:p>
            <a:pPr lvl="1"/>
            <a:r>
              <a:rPr lang="en-US" sz="1800" dirty="0" smtClean="0"/>
              <a:t>Only </a:t>
            </a:r>
            <a:r>
              <a:rPr lang="en-US" sz="1800" dirty="0"/>
              <a:t>one Primary Key is allowed in a table.</a:t>
            </a:r>
          </a:p>
          <a:p>
            <a:pPr lvl="1"/>
            <a:r>
              <a:rPr lang="en-US" sz="1800" dirty="0" smtClean="0"/>
              <a:t>Primary </a:t>
            </a:r>
            <a:r>
              <a:rPr lang="en-US" sz="1800" dirty="0"/>
              <a:t>Keys may consist of one or more columns.</a:t>
            </a:r>
          </a:p>
          <a:p>
            <a:pPr lvl="1"/>
            <a:r>
              <a:rPr lang="en-US" sz="1800" dirty="0" smtClean="0"/>
              <a:t>Primary </a:t>
            </a:r>
            <a:r>
              <a:rPr lang="en-US" sz="1800" dirty="0"/>
              <a:t>Keys cannot have duplicate values (ND).</a:t>
            </a:r>
          </a:p>
          <a:p>
            <a:pPr lvl="1"/>
            <a:r>
              <a:rPr lang="en-US" sz="1800" dirty="0" smtClean="0"/>
              <a:t>Primary </a:t>
            </a:r>
            <a:r>
              <a:rPr lang="en-US" sz="1800" dirty="0"/>
              <a:t>Keys cannot be null (NN).</a:t>
            </a:r>
          </a:p>
          <a:p>
            <a:pPr lvl="1"/>
            <a:r>
              <a:rPr lang="en-US" sz="1800" dirty="0" smtClean="0"/>
              <a:t> </a:t>
            </a:r>
            <a:r>
              <a:rPr lang="en-US" sz="1800" dirty="0"/>
              <a:t>Primary Keys are considered “non-changing” values (NC).</a:t>
            </a:r>
          </a:p>
          <a:p>
            <a:endParaRPr lang="en-US" sz="18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6ba37514-8ea7-4bb7-b1c0-6137f91cbe04">Module Artifact</Category>
    <Material_x0020_Type xmlns="6ba37514-8ea7-4bb7-b1c0-6137f91cbe04">Class book</Material_x0020_Type>
    <Level xmlns="6ba37514-8ea7-4bb7-b1c0-6137f91cbe04">L1</Level>
  </documentManagement>
</p:properties>
</file>

<file path=customXml/itemProps1.xml><?xml version="1.0" encoding="utf-8"?>
<ds:datastoreItem xmlns:ds="http://schemas.openxmlformats.org/officeDocument/2006/customXml" ds:itemID="{FEA9CB51-5E54-4D83-B1DE-43395C308C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a37514-8ea7-4bb7-b1c0-6137f91cbe0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801C6D6-3081-466C-B0EE-6F5898C7B57F}">
  <ds:schemaRefs>
    <ds:schemaRef ds:uri="http://schemas.microsoft.com/sharepoint/v3/contenttype/forms"/>
  </ds:schemaRefs>
</ds:datastoreItem>
</file>

<file path=customXml/itemProps3.xml><?xml version="1.0" encoding="utf-8"?>
<ds:datastoreItem xmlns:ds="http://schemas.openxmlformats.org/officeDocument/2006/customXml" ds:itemID="{286CF1DA-8A5A-4FBD-A617-BC83E7F45D29}">
  <ds:schemaRefs>
    <ds:schemaRef ds:uri="http://schemas.microsoft.com/office/2006/metadata/properties"/>
    <ds:schemaRef ds:uri="http://schemas.microsoft.com/office/infopath/2007/PartnerControls"/>
    <ds:schemaRef ds:uri="6ba37514-8ea7-4bb7-b1c0-6137f91cbe04"/>
  </ds:schemaRefs>
</ds:datastoreItem>
</file>

<file path=docProps/app.xml><?xml version="1.0" encoding="utf-8"?>
<Properties xmlns="http://schemas.openxmlformats.org/officeDocument/2006/extended-properties" xmlns:vt="http://schemas.openxmlformats.org/officeDocument/2006/docPropsVTypes">
  <Template/>
  <TotalTime>307</TotalTime>
  <Words>1885</Words>
  <Application>Microsoft Office PowerPoint</Application>
  <PresentationFormat>A4 Paper (210x297 mm)</PresentationFormat>
  <Paragraphs>248</Paragraphs>
  <Slides>40</Slides>
  <Notes>4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7" baseType="lpstr">
      <vt:lpstr>Arial</vt:lpstr>
      <vt:lpstr>Calibri</vt:lpstr>
      <vt:lpstr>Times New Roman</vt:lpstr>
      <vt:lpstr>Verdana</vt:lpstr>
      <vt:lpstr>Wingdings</vt:lpstr>
      <vt:lpstr>Capgemini 2017_Cover slides</vt:lpstr>
      <vt:lpstr>think-cell Slide</vt:lpstr>
      <vt:lpstr>Teradata Basics</vt:lpstr>
      <vt:lpstr>Module Object</vt:lpstr>
      <vt:lpstr>RDBMS Concepts What is a Relational Database?</vt:lpstr>
      <vt:lpstr>RDBMS Concepts Relational Database</vt:lpstr>
      <vt:lpstr>RDBMS Concepts → Data Modeling</vt:lpstr>
      <vt:lpstr>RDBMS Concepts → Data Modeling</vt:lpstr>
      <vt:lpstr>Example on Normalization</vt:lpstr>
      <vt:lpstr>Example on Normalization</vt:lpstr>
      <vt:lpstr>RDBMS Concepts – Primary Key</vt:lpstr>
      <vt:lpstr>RDBMS Concepts – Primary Key</vt:lpstr>
      <vt:lpstr>RDBMS Concepts – Relational Advantages</vt:lpstr>
      <vt:lpstr>Teradata Overview</vt:lpstr>
      <vt:lpstr>Teradata Overview – Why Teradata?</vt:lpstr>
      <vt:lpstr>Teradata – Single Data Store</vt:lpstr>
      <vt:lpstr>Teradata – Scalability</vt:lpstr>
      <vt:lpstr>Teradata Overview – Designed for Today’s Business</vt:lpstr>
      <vt:lpstr>Teradata Overview – Review</vt:lpstr>
      <vt:lpstr>Teradata and Data Warehouse</vt:lpstr>
      <vt:lpstr>Teradata &amp; Data Warehouse</vt:lpstr>
      <vt:lpstr>Teradata &amp; Data Warehouse</vt:lpstr>
      <vt:lpstr>Teradata → SMP v/s MPP</vt:lpstr>
      <vt:lpstr>Teradata and Data Warehouse</vt:lpstr>
      <vt:lpstr>Teradata → Components and Architecture</vt:lpstr>
      <vt:lpstr>Teradata → Components and Architecture</vt:lpstr>
      <vt:lpstr>Components and Architecture</vt:lpstr>
      <vt:lpstr>Components and Architecture</vt:lpstr>
      <vt:lpstr>Components and Architecture</vt:lpstr>
      <vt:lpstr>Components and Architecture</vt:lpstr>
      <vt:lpstr>Components and Architecture</vt:lpstr>
      <vt:lpstr>Components and Architecture</vt:lpstr>
      <vt:lpstr>Components and Architecture</vt:lpstr>
      <vt:lpstr>Teradata Utilities</vt:lpstr>
      <vt:lpstr>Teradata Utilities</vt:lpstr>
      <vt:lpstr>Review Questions</vt:lpstr>
      <vt:lpstr>Answers</vt:lpstr>
      <vt:lpstr>QUIZ</vt:lpstr>
      <vt:lpstr>QUIZ</vt:lpstr>
      <vt:lpstr>Module 1: Lab Exercise</vt:lpstr>
      <vt:lpstr>Module 1: Lab Exercise</vt:lpstr>
      <vt:lpstr>Summary includes all differences between 13 and 14</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radata Training – Day 1 </dc:title>
  <dc:creator>sipparth</dc:creator>
  <cp:lastModifiedBy>Yadav, Hari</cp:lastModifiedBy>
  <cp:revision>12</cp:revision>
  <cp:lastPrinted>2016-11-04T03:59:41Z</cp:lastPrinted>
  <dcterms:created xsi:type="dcterms:W3CDTF">2016-07-27T05:12:27Z</dcterms:created>
  <dcterms:modified xsi:type="dcterms:W3CDTF">2018-08-02T08:3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4-23T00:00:00Z</vt:filetime>
  </property>
  <property fmtid="{D5CDD505-2E9C-101B-9397-08002B2CF9AE}" pid="3" name="Creator">
    <vt:lpwstr>Microsoft® Office PowerPoint® 2007</vt:lpwstr>
  </property>
  <property fmtid="{D5CDD505-2E9C-101B-9397-08002B2CF9AE}" pid="4" name="LastSaved">
    <vt:filetime>2016-07-27T00:00:00Z</vt:filetime>
  </property>
  <property fmtid="{D5CDD505-2E9C-101B-9397-08002B2CF9AE}" pid="5" name="ContentTypeId">
    <vt:lpwstr>0x010100EBBB9BED16EB0048B4DF793E653FA3A1</vt:lpwstr>
  </property>
</Properties>
</file>